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98" r:id="rId1"/>
    <p:sldMasterId id="2147483811" r:id="rId2"/>
  </p:sldMasterIdLst>
  <p:notesMasterIdLst>
    <p:notesMasterId r:id="rId30"/>
  </p:notesMasterIdLst>
  <p:sldIdLst>
    <p:sldId id="386" r:id="rId3"/>
    <p:sldId id="683" r:id="rId4"/>
    <p:sldId id="726" r:id="rId5"/>
    <p:sldId id="727" r:id="rId6"/>
    <p:sldId id="700" r:id="rId7"/>
    <p:sldId id="673" r:id="rId8"/>
    <p:sldId id="698" r:id="rId9"/>
    <p:sldId id="685" r:id="rId10"/>
    <p:sldId id="706" r:id="rId11"/>
    <p:sldId id="709" r:id="rId12"/>
    <p:sldId id="725" r:id="rId13"/>
    <p:sldId id="672" r:id="rId14"/>
    <p:sldId id="722" r:id="rId15"/>
    <p:sldId id="703" r:id="rId16"/>
    <p:sldId id="718" r:id="rId17"/>
    <p:sldId id="708" r:id="rId18"/>
    <p:sldId id="712" r:id="rId19"/>
    <p:sldId id="710" r:id="rId20"/>
    <p:sldId id="723" r:id="rId21"/>
    <p:sldId id="724" r:id="rId22"/>
    <p:sldId id="713" r:id="rId23"/>
    <p:sldId id="680" r:id="rId24"/>
    <p:sldId id="692" r:id="rId25"/>
    <p:sldId id="682" r:id="rId26"/>
    <p:sldId id="693" r:id="rId27"/>
    <p:sldId id="695" r:id="rId28"/>
    <p:sldId id="686" r:id="rId29"/>
  </p:sldIdLst>
  <p:sldSz cx="15119350" cy="10691813"/>
  <p:notesSz cx="6797675" cy="9928225"/>
  <p:embeddedFontLst>
    <p:embeddedFont>
      <p:font typeface="Calibri Light" panose="020F0302020204030204" pitchFamily="34" charset="0"/>
      <p:regular r:id="rId31"/>
      <p:italic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Microsoft Sans Serif" panose="020B0604020202020204" pitchFamily="34" charset="0"/>
      <p:regular r:id="rId37"/>
    </p:embeddedFont>
  </p:embeddedFontLst>
  <p:defaultTextStyle>
    <a:defPPr>
      <a:defRPr lang="ru-RU"/>
    </a:defPPr>
    <a:lvl1pPr marL="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763" userDrawn="1">
          <p15:clr>
            <a:srgbClr val="A4A3A4"/>
          </p15:clr>
        </p15:guide>
        <p15:guide id="2" orient="horz" pos="3369" userDrawn="1">
          <p15:clr>
            <a:srgbClr val="A4A3A4"/>
          </p15:clr>
        </p15:guide>
        <p15:guide id="3" pos="488" userDrawn="1">
          <p15:clr>
            <a:srgbClr val="A4A3A4"/>
          </p15:clr>
        </p15:guide>
        <p15:guide id="4" orient="horz" pos="4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аталья Алтыникова" initials="НА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086"/>
    <a:srgbClr val="ABABDD"/>
    <a:srgbClr val="CDCDEB"/>
    <a:srgbClr val="565087"/>
    <a:srgbClr val="423D67"/>
    <a:srgbClr val="FF5429"/>
    <a:srgbClr val="8A8AD0"/>
    <a:srgbClr val="9D9DD7"/>
    <a:srgbClr val="007499"/>
    <a:srgbClr val="0056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839" autoAdjust="0"/>
    <p:restoredTop sz="99882" autoAdjust="0"/>
  </p:normalViewPr>
  <p:slideViewPr>
    <p:cSldViewPr snapToGrid="0" snapToObjects="1">
      <p:cViewPr varScale="1">
        <p:scale>
          <a:sx n="85" d="100"/>
          <a:sy n="85" d="100"/>
        </p:scale>
        <p:origin x="468" y="108"/>
      </p:cViewPr>
      <p:guideLst>
        <p:guide pos="4763"/>
        <p:guide orient="horz" pos="3369"/>
        <p:guide pos="488"/>
        <p:guide orient="horz" pos="43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6" d="100"/>
          <a:sy n="76" d="100"/>
        </p:scale>
        <p:origin x="-3282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21" Type="http://schemas.openxmlformats.org/officeDocument/2006/relationships/slide" Target="slides/slide19.xml"/><Relationship Id="rId34" Type="http://schemas.openxmlformats.org/officeDocument/2006/relationships/font" Target="fonts/font4.fntdata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6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1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3.fntdata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23434771081191"/>
          <c:y val="4.9261083743842367E-2"/>
          <c:w val="0.49491526279685377"/>
          <c:h val="0.8367502327984179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3BC-4ECB-B036-EFC928BB0B5B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3BC-4ECB-B036-EFC928BB0B5B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3BC-4ECB-B036-EFC928BB0B5B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3BC-4ECB-B036-EFC928BB0B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Обуч!$A$12:$A$21</c:f>
              <c:strCache>
                <c:ptCount val="10"/>
                <c:pt idx="0">
                  <c:v>Отсутствие качественной системы безопасности в школе</c:v>
                </c:pt>
                <c:pt idx="1">
                  <c:v>Отсутствие в школе системы работы с отстающими учениками</c:v>
                </c:pt>
                <c:pt idx="2">
                  <c:v>Неинтересные уроки</c:v>
                </c:pt>
                <c:pt idx="3">
                  <c:v>Недостаток площадей для осуществления образовательного процесса, и, как следствие обучение в 2-3 смены</c:v>
                </c:pt>
                <c:pt idx="4">
                  <c:v>Плохое питание</c:v>
                </c:pt>
                <c:pt idx="5">
                  <c:v>Отсутствие индивидуальных образовательных траекторий</c:v>
                </c:pt>
                <c:pt idx="6">
                  <c:v>Отсутствие интернета и доступа к электронным образовательным ресурсам в школе</c:v>
                </c:pt>
                <c:pt idx="7">
                  <c:v>Устаревшее оснащение школы</c:v>
                </c:pt>
                <c:pt idx="8">
                  <c:v>Слишком много контрольных работ</c:v>
                </c:pt>
                <c:pt idx="9">
                  <c:v>Перегруженность домашними заданиями</c:v>
                </c:pt>
              </c:strCache>
            </c:strRef>
          </c:cat>
          <c:val>
            <c:numRef>
              <c:f>Проблемы_Обуч!$C$12:$C$21</c:f>
              <c:numCache>
                <c:formatCode>0.0</c:formatCode>
                <c:ptCount val="10"/>
                <c:pt idx="0">
                  <c:v>28.501118568232663</c:v>
                </c:pt>
                <c:pt idx="1">
                  <c:v>28.590604026845639</c:v>
                </c:pt>
                <c:pt idx="2">
                  <c:v>30.290827740492173</c:v>
                </c:pt>
                <c:pt idx="3">
                  <c:v>30.425055928411631</c:v>
                </c:pt>
                <c:pt idx="4">
                  <c:v>30.514541387024607</c:v>
                </c:pt>
                <c:pt idx="5">
                  <c:v>32.841163310961967</c:v>
                </c:pt>
                <c:pt idx="6">
                  <c:v>37.583892617449663</c:v>
                </c:pt>
                <c:pt idx="7">
                  <c:v>42.908277404921705</c:v>
                </c:pt>
                <c:pt idx="8">
                  <c:v>51.946308724832214</c:v>
                </c:pt>
                <c:pt idx="9">
                  <c:v>66.577181208053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BC-4ECB-B036-EFC928BB0B5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  <c:max val="70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5678937113085341"/>
              <c:y val="0.821195678998127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396221650807813"/>
          <c:y val="5.9475533928088672E-2"/>
          <c:w val="0.48549792312839568"/>
          <c:h val="0.837217618540040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A70C6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FF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0-1FC7-4392-A158-A02877186DB9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4E-41A5-9371-44F1FB288580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4E-41A5-9371-44F1FB288580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4E-41A5-9371-44F1FB2885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Пед!$A$16:$A$25</c:f>
              <c:strCache>
                <c:ptCount val="10"/>
                <c:pt idx="0">
                  <c:v>Трудозатратная процедура аттестации педагогических работников</c:v>
                </c:pt>
                <c:pt idx="1">
                  <c:v>Недостаток площадей для осуществления образовательного процесса, и, как следствие обучение в 2-3 смены</c:v>
                </c:pt>
                <c:pt idx="2">
                  <c:v>Большое количество неоплачиваемой работы у педагогов</c:v>
                </c:pt>
                <c:pt idx="3">
                  <c:v>Недостаток квалифицированных педагогов</c:v>
                </c:pt>
                <c:pt idx="4">
                  <c:v>Низкий уровень материально-технической оснащенности образовательного процесса</c:v>
                </c:pt>
                <c:pt idx="5">
                  <c:v>Недостаток молодых педагогов</c:v>
                </c:pt>
                <c:pt idx="6">
                  <c:v>Перегруженность педагогов различными мероприятиями и проектами, не относящимися к образовательной программе</c:v>
                </c:pt>
                <c:pt idx="7">
                  <c:v>Низкий уровень мотивации к обучению у подрастающего поколения</c:v>
                </c:pt>
                <c:pt idx="8">
                  <c:v>Высокая документарная нагрузка педагогов</c:v>
                </c:pt>
                <c:pt idx="9">
                  <c:v>Низкая оплата труда педагогов</c:v>
                </c:pt>
              </c:strCache>
            </c:strRef>
          </c:cat>
          <c:val>
            <c:numRef>
              <c:f>Проблемы_Пед!$C$16:$C$25</c:f>
              <c:numCache>
                <c:formatCode>0.0</c:formatCode>
                <c:ptCount val="10"/>
                <c:pt idx="0">
                  <c:v>20.936902485659655</c:v>
                </c:pt>
                <c:pt idx="1">
                  <c:v>24.760994263862333</c:v>
                </c:pt>
                <c:pt idx="2">
                  <c:v>27.915869980879542</c:v>
                </c:pt>
                <c:pt idx="3">
                  <c:v>28.154875717017209</c:v>
                </c:pt>
                <c:pt idx="4">
                  <c:v>33.795411089866157</c:v>
                </c:pt>
                <c:pt idx="5">
                  <c:v>44.216061185468455</c:v>
                </c:pt>
                <c:pt idx="6">
                  <c:v>47.227533460803059</c:v>
                </c:pt>
                <c:pt idx="7">
                  <c:v>57.361376673040155</c:v>
                </c:pt>
                <c:pt idx="8">
                  <c:v>66.969407265774379</c:v>
                </c:pt>
                <c:pt idx="9">
                  <c:v>71.749521988527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C4E-41A5-9371-44F1FB28858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4584520467811641"/>
              <c:y val="0.815561275994346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8C2-4B17-B6D8-D8CA1732EB0C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8C2-4B17-B6D8-D8CA1732EB0C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66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C2-4B17-B6D8-D8CA1732EB0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21403561411784"/>
          <c:y val="0.42567987134072327"/>
          <c:w val="0.21353965551974505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DD7-4439-89CF-E46D09539C0F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DD7-4439-89CF-E46D09539C0F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66400000000000003</c:v>
                </c:pt>
                <c:pt idx="1">
                  <c:v>0.336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DD7-4439-89CF-E46D09539C0F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026110677610876"/>
          <c:y val="0.65645484924138475"/>
          <c:w val="0.25855548136032375"/>
          <c:h val="0.26713678671547308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80E-456A-AF2F-49CC8AE36263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80E-456A-AF2F-49CC8AE36263}"/>
              </c:ext>
            </c:extLst>
          </c:dPt>
          <c:dLbls>
            <c:dLbl>
              <c:idx val="1"/>
              <c:layout>
                <c:manualLayout>
                  <c:x val="4.1894068117337799E-2"/>
                  <c:y val="0.12386741733232397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80E-456A-AF2F-49CC8AE36263}"/>
                </c:ext>
              </c:extLst>
            </c:dLbl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80E-456A-AF2F-49CC8AE3626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410075794971623"/>
          <c:y val="0.42567987134072327"/>
          <c:w val="0.208652846847967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435-4B1F-82FE-AD80F3DDB57D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435-4B1F-82FE-AD80F3DDB57D}"/>
              </c:ext>
            </c:extLst>
          </c:dPt>
          <c:dLbls>
            <c:dLbl>
              <c:idx val="1"/>
              <c:layout>
                <c:manualLayout>
                  <c:x val="4.1894068117337799E-2"/>
                  <c:y val="0.12386741733232397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435-4B1F-82FE-AD80F3DDB57D}"/>
                </c:ext>
              </c:extLst>
            </c:dLbl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91900000000000004</c:v>
                </c:pt>
                <c:pt idx="1">
                  <c:v>8.1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35-4B1F-82FE-AD80F3DDB57D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320368429269171"/>
          <c:y val="0.40593096760407088"/>
          <c:w val="0.27083741714508397"/>
          <c:h val="0.39816436205543143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663-440B-B132-FF61478AA7B1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663-440B-B132-FF61478AA7B1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19</c:v>
                </c:pt>
                <c:pt idx="1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63-440B-B132-FF61478AA7B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897158997323868"/>
          <c:y val="0.39460057246363595"/>
          <c:w val="0.21171088015472955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7B6-425A-AC24-C36F4052FFE6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07B6-425A-AC24-C36F4052FFE6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27100000000000002</c:v>
                </c:pt>
                <c:pt idx="1">
                  <c:v>0.728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B6-425A-AC24-C36F4052FFE6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857271657333267"/>
          <c:y val="0.4177059098496238"/>
          <c:w val="0.24620953457560255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5AA43A-CB1A-4AAB-9CBC-C23D67B28EA4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376079-BA01-434B-B1B6-1D7647171A39}">
      <dgm:prSet phldrT="[Текст]" custT="1"/>
      <dgm:spPr>
        <a:solidFill>
          <a:srgbClr val="C65D28"/>
        </a:solidFill>
      </dgm:spPr>
      <dgm:t>
        <a:bodyPr/>
        <a:lstStyle/>
        <a:p>
          <a:r>
            <a:rPr lang="ru-RU" sz="2400" b="1" dirty="0">
              <a:solidFill>
                <a:schemeClr val="tx1"/>
              </a:solidFill>
            </a:rPr>
            <a:t>Загруженность учителей </a:t>
          </a:r>
        </a:p>
      </dgm:t>
    </dgm:pt>
    <dgm:pt modelId="{E751C3BE-48A5-47E8-A70D-106C3230226F}" type="parTrans" cxnId="{1F9E5C0D-C448-4E3C-B9B3-4B2E4BA50135}">
      <dgm:prSet/>
      <dgm:spPr/>
      <dgm:t>
        <a:bodyPr/>
        <a:lstStyle/>
        <a:p>
          <a:endParaRPr lang="ru-RU"/>
        </a:p>
      </dgm:t>
    </dgm:pt>
    <dgm:pt modelId="{A47FF864-47EE-4DAD-8A79-1754FFF6E4B6}" type="sibTrans" cxnId="{1F9E5C0D-C448-4E3C-B9B3-4B2E4BA50135}">
      <dgm:prSet/>
      <dgm:spPr/>
      <dgm:t>
        <a:bodyPr/>
        <a:lstStyle/>
        <a:p>
          <a:endParaRPr lang="ru-RU"/>
        </a:p>
      </dgm:t>
    </dgm:pt>
    <dgm:pt modelId="{B78396D2-1CE1-4C84-8114-3E523A2FA96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gm:t>
    </dgm:pt>
    <dgm:pt modelId="{75CC6DC2-84BD-461F-90EF-327BD80FF570}" type="parTrans" cxnId="{CB99AED9-E9D0-407D-BE28-7C1A8125AC59}">
      <dgm:prSet/>
      <dgm:spPr/>
      <dgm:t>
        <a:bodyPr/>
        <a:lstStyle/>
        <a:p>
          <a:endParaRPr lang="ru-RU"/>
        </a:p>
      </dgm:t>
    </dgm:pt>
    <dgm:pt modelId="{B5EF4533-F99E-45F6-B2B5-71FF6875E469}" type="sibTrans" cxnId="{CB99AED9-E9D0-407D-BE28-7C1A8125AC59}">
      <dgm:prSet/>
      <dgm:spPr/>
      <dgm:t>
        <a:bodyPr/>
        <a:lstStyle/>
        <a:p>
          <a:endParaRPr lang="ru-RU"/>
        </a:p>
      </dgm:t>
    </dgm:pt>
    <dgm:pt modelId="{307FB031-6E95-4B1C-9F67-097412E27CA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gm:t>
    </dgm:pt>
    <dgm:pt modelId="{AE942A54-A7FD-4165-8BE4-A83A2D4C822E}" type="parTrans" cxnId="{486C0B97-DBF1-4F61-B08D-FBFF983E5CAD}">
      <dgm:prSet/>
      <dgm:spPr/>
      <dgm:t>
        <a:bodyPr/>
        <a:lstStyle/>
        <a:p>
          <a:endParaRPr lang="ru-RU"/>
        </a:p>
      </dgm:t>
    </dgm:pt>
    <dgm:pt modelId="{FA85DA6C-F354-402F-ABDB-E2AAC1B62246}" type="sibTrans" cxnId="{486C0B97-DBF1-4F61-B08D-FBFF983E5CAD}">
      <dgm:prSet/>
      <dgm:spPr/>
      <dgm:t>
        <a:bodyPr/>
        <a:lstStyle/>
        <a:p>
          <a:endParaRPr lang="ru-RU"/>
        </a:p>
      </dgm:t>
    </dgm:pt>
    <dgm:pt modelId="{EF0348DC-321F-49B1-BF73-A31314043953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gm:t>
    </dgm:pt>
    <dgm:pt modelId="{3D042A4C-0590-47BE-82DF-D586F61A15B9}" type="parTrans" cxnId="{108C0BD8-09EA-4A31-ABAE-647D11B851CC}">
      <dgm:prSet/>
      <dgm:spPr/>
      <dgm:t>
        <a:bodyPr/>
        <a:lstStyle/>
        <a:p>
          <a:endParaRPr lang="ru-RU"/>
        </a:p>
      </dgm:t>
    </dgm:pt>
    <dgm:pt modelId="{2566CE4F-898D-4004-AD67-8B8E23FDEB43}" type="sibTrans" cxnId="{108C0BD8-09EA-4A31-ABAE-647D11B851CC}">
      <dgm:prSet/>
      <dgm:spPr/>
      <dgm:t>
        <a:bodyPr/>
        <a:lstStyle/>
        <a:p>
          <a:endParaRPr lang="ru-RU"/>
        </a:p>
      </dgm:t>
    </dgm:pt>
    <dgm:pt modelId="{0C8A38C0-625A-421E-9DC8-A13B963F4F78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gm:t>
    </dgm:pt>
    <dgm:pt modelId="{1CBBBA55-EC84-47CA-834F-CC9301B61219}" type="parTrans" cxnId="{74BDEA6D-BCE7-4AA1-A143-EC07540327CD}">
      <dgm:prSet/>
      <dgm:spPr/>
      <dgm:t>
        <a:bodyPr/>
        <a:lstStyle/>
        <a:p>
          <a:endParaRPr lang="ru-RU"/>
        </a:p>
      </dgm:t>
    </dgm:pt>
    <dgm:pt modelId="{B4738228-DC2E-4120-81F9-FE550CE6BDAE}" type="sibTrans" cxnId="{74BDEA6D-BCE7-4AA1-A143-EC07540327CD}">
      <dgm:prSet/>
      <dgm:spPr/>
      <dgm:t>
        <a:bodyPr/>
        <a:lstStyle/>
        <a:p>
          <a:endParaRPr lang="ru-RU"/>
        </a:p>
      </dgm:t>
    </dgm:pt>
    <dgm:pt modelId="{28863E19-90CD-4EB3-8E0E-1088B08A1248}">
      <dgm:prSet/>
      <dgm:spPr>
        <a:solidFill>
          <a:srgbClr val="9999FF"/>
        </a:solidFill>
        <a:ln>
          <a:solidFill>
            <a:srgbClr val="7A70C6"/>
          </a:solidFill>
        </a:ln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gm:t>
    </dgm:pt>
    <dgm:pt modelId="{74C91205-5425-4A42-BB22-239ADDB3193F}" type="parTrans" cxnId="{844D6BDB-3760-4D39-9C12-240598FD2F5E}">
      <dgm:prSet/>
      <dgm:spPr/>
      <dgm:t>
        <a:bodyPr/>
        <a:lstStyle/>
        <a:p>
          <a:endParaRPr lang="ru-RU"/>
        </a:p>
      </dgm:t>
    </dgm:pt>
    <dgm:pt modelId="{49BB84AD-0A57-4533-8E2B-E8AD218CC4EF}" type="sibTrans" cxnId="{844D6BDB-3760-4D39-9C12-240598FD2F5E}">
      <dgm:prSet/>
      <dgm:spPr/>
      <dgm:t>
        <a:bodyPr/>
        <a:lstStyle/>
        <a:p>
          <a:endParaRPr lang="ru-RU"/>
        </a:p>
      </dgm:t>
    </dgm:pt>
    <dgm:pt modelId="{971A5FF0-6B18-4D08-866B-00D3450FA0B1}" type="pres">
      <dgm:prSet presAssocID="{135AA43A-CB1A-4AAB-9CBC-C23D67B28EA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CD32D72-A6C2-4E07-92EF-509ACB6D6B84}" type="pres">
      <dgm:prSet presAssocID="{135AA43A-CB1A-4AAB-9CBC-C23D67B28EA4}" presName="cycle" presStyleCnt="0"/>
      <dgm:spPr/>
    </dgm:pt>
    <dgm:pt modelId="{AD76F7DA-A05C-456D-9FED-BAA7D5FA686F}" type="pres">
      <dgm:prSet presAssocID="{36376079-BA01-434B-B1B6-1D7647171A39}" presName="nodeFirs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9D7FD41-5293-4C8A-958C-2ED77A6004FF}" type="pres">
      <dgm:prSet presAssocID="{A47FF864-47EE-4DAD-8A79-1754FFF6E4B6}" presName="sibTransFirstNode" presStyleLbl="bgShp" presStyleIdx="0" presStyleCnt="1"/>
      <dgm:spPr/>
      <dgm:t>
        <a:bodyPr/>
        <a:lstStyle/>
        <a:p>
          <a:endParaRPr lang="ru-RU"/>
        </a:p>
      </dgm:t>
    </dgm:pt>
    <dgm:pt modelId="{FF9A7F4E-61A7-4165-9CDE-959383E90EE6}" type="pres">
      <dgm:prSet presAssocID="{B78396D2-1CE1-4C84-8114-3E523A2FA96B}" presName="nodeFollowingNodes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455018-EBF4-4209-9D90-5A9A20CE0B0E}" type="pres">
      <dgm:prSet presAssocID="{307FB031-6E95-4B1C-9F67-097412E27CAB}" presName="nodeFollowingNodes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8DA06D-FD10-4DAA-80A9-3416FA1DD1C4}" type="pres">
      <dgm:prSet presAssocID="{EF0348DC-321F-49B1-BF73-A31314043953}" presName="nodeFollowingNodes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56902B-D635-442F-8465-A64FC9976F3B}" type="pres">
      <dgm:prSet presAssocID="{0C8A38C0-625A-421E-9DC8-A13B963F4F78}" presName="nodeFollowingNodes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F211FA-77BA-41DD-8E61-FA1013089D0A}" type="pres">
      <dgm:prSet presAssocID="{28863E19-90CD-4EB3-8E0E-1088B08A1248}" presName="nodeFollowingNodes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D167D27-10E1-431D-ADED-0764D817960E}" type="presOf" srcId="{A47FF864-47EE-4DAD-8A79-1754FFF6E4B6}" destId="{C9D7FD41-5293-4C8A-958C-2ED77A6004FF}" srcOrd="0" destOrd="0" presId="urn:microsoft.com/office/officeart/2005/8/layout/cycle3"/>
    <dgm:cxn modelId="{17FF7DEE-4BDC-4C60-ADB5-93B64F90F112}" type="presOf" srcId="{0C8A38C0-625A-421E-9DC8-A13B963F4F78}" destId="{A656902B-D635-442F-8465-A64FC9976F3B}" srcOrd="0" destOrd="0" presId="urn:microsoft.com/office/officeart/2005/8/layout/cycle3"/>
    <dgm:cxn modelId="{0E1AF1CB-7001-4F99-8167-320B8C24B372}" type="presOf" srcId="{EF0348DC-321F-49B1-BF73-A31314043953}" destId="{B78DA06D-FD10-4DAA-80A9-3416FA1DD1C4}" srcOrd="0" destOrd="0" presId="urn:microsoft.com/office/officeart/2005/8/layout/cycle3"/>
    <dgm:cxn modelId="{CB99AED9-E9D0-407D-BE28-7C1A8125AC59}" srcId="{135AA43A-CB1A-4AAB-9CBC-C23D67B28EA4}" destId="{B78396D2-1CE1-4C84-8114-3E523A2FA96B}" srcOrd="1" destOrd="0" parTransId="{75CC6DC2-84BD-461F-90EF-327BD80FF570}" sibTransId="{B5EF4533-F99E-45F6-B2B5-71FF6875E469}"/>
    <dgm:cxn modelId="{108C0BD8-09EA-4A31-ABAE-647D11B851CC}" srcId="{135AA43A-CB1A-4AAB-9CBC-C23D67B28EA4}" destId="{EF0348DC-321F-49B1-BF73-A31314043953}" srcOrd="3" destOrd="0" parTransId="{3D042A4C-0590-47BE-82DF-D586F61A15B9}" sibTransId="{2566CE4F-898D-4004-AD67-8B8E23FDEB43}"/>
    <dgm:cxn modelId="{486C0B97-DBF1-4F61-B08D-FBFF983E5CAD}" srcId="{135AA43A-CB1A-4AAB-9CBC-C23D67B28EA4}" destId="{307FB031-6E95-4B1C-9F67-097412E27CAB}" srcOrd="2" destOrd="0" parTransId="{AE942A54-A7FD-4165-8BE4-A83A2D4C822E}" sibTransId="{FA85DA6C-F354-402F-ABDB-E2AAC1B62246}"/>
    <dgm:cxn modelId="{74BDEA6D-BCE7-4AA1-A143-EC07540327CD}" srcId="{135AA43A-CB1A-4AAB-9CBC-C23D67B28EA4}" destId="{0C8A38C0-625A-421E-9DC8-A13B963F4F78}" srcOrd="4" destOrd="0" parTransId="{1CBBBA55-EC84-47CA-834F-CC9301B61219}" sibTransId="{B4738228-DC2E-4120-81F9-FE550CE6BDAE}"/>
    <dgm:cxn modelId="{DB7CD577-4297-4E4A-8C63-EA96AA3296F8}" type="presOf" srcId="{B78396D2-1CE1-4C84-8114-3E523A2FA96B}" destId="{FF9A7F4E-61A7-4165-9CDE-959383E90EE6}" srcOrd="0" destOrd="0" presId="urn:microsoft.com/office/officeart/2005/8/layout/cycle3"/>
    <dgm:cxn modelId="{1119123A-C034-485E-91AB-BD7F9E70453A}" type="presOf" srcId="{307FB031-6E95-4B1C-9F67-097412E27CAB}" destId="{4F455018-EBF4-4209-9D90-5A9A20CE0B0E}" srcOrd="0" destOrd="0" presId="urn:microsoft.com/office/officeart/2005/8/layout/cycle3"/>
    <dgm:cxn modelId="{844D6BDB-3760-4D39-9C12-240598FD2F5E}" srcId="{135AA43A-CB1A-4AAB-9CBC-C23D67B28EA4}" destId="{28863E19-90CD-4EB3-8E0E-1088B08A1248}" srcOrd="5" destOrd="0" parTransId="{74C91205-5425-4A42-BB22-239ADDB3193F}" sibTransId="{49BB84AD-0A57-4533-8E2B-E8AD218CC4EF}"/>
    <dgm:cxn modelId="{0D845652-92E4-4FD3-8EB4-124F60BCBF0F}" type="presOf" srcId="{135AA43A-CB1A-4AAB-9CBC-C23D67B28EA4}" destId="{971A5FF0-6B18-4D08-866B-00D3450FA0B1}" srcOrd="0" destOrd="0" presId="urn:microsoft.com/office/officeart/2005/8/layout/cycle3"/>
    <dgm:cxn modelId="{9D1075D6-53E4-4C6D-8EDF-35C1B23CCB0B}" type="presOf" srcId="{28863E19-90CD-4EB3-8E0E-1088B08A1248}" destId="{97F211FA-77BA-41DD-8E61-FA1013089D0A}" srcOrd="0" destOrd="0" presId="urn:microsoft.com/office/officeart/2005/8/layout/cycle3"/>
    <dgm:cxn modelId="{EEEC0D76-E4D4-49EE-B823-2FBB68241AB2}" type="presOf" srcId="{36376079-BA01-434B-B1B6-1D7647171A39}" destId="{AD76F7DA-A05C-456D-9FED-BAA7D5FA686F}" srcOrd="0" destOrd="0" presId="urn:microsoft.com/office/officeart/2005/8/layout/cycle3"/>
    <dgm:cxn modelId="{1F9E5C0D-C448-4E3C-B9B3-4B2E4BA50135}" srcId="{135AA43A-CB1A-4AAB-9CBC-C23D67B28EA4}" destId="{36376079-BA01-434B-B1B6-1D7647171A39}" srcOrd="0" destOrd="0" parTransId="{E751C3BE-48A5-47E8-A70D-106C3230226F}" sibTransId="{A47FF864-47EE-4DAD-8A79-1754FFF6E4B6}"/>
    <dgm:cxn modelId="{9BBF81A4-536B-4BCF-A121-88449153B2A7}" type="presParOf" srcId="{971A5FF0-6B18-4D08-866B-00D3450FA0B1}" destId="{5CD32D72-A6C2-4E07-92EF-509ACB6D6B84}" srcOrd="0" destOrd="0" presId="urn:microsoft.com/office/officeart/2005/8/layout/cycle3"/>
    <dgm:cxn modelId="{1A032D25-4D17-4960-A39B-09431A7586D9}" type="presParOf" srcId="{5CD32D72-A6C2-4E07-92EF-509ACB6D6B84}" destId="{AD76F7DA-A05C-456D-9FED-BAA7D5FA686F}" srcOrd="0" destOrd="0" presId="urn:microsoft.com/office/officeart/2005/8/layout/cycle3"/>
    <dgm:cxn modelId="{D2EED499-DC9E-44AE-A546-3621DF32C3DC}" type="presParOf" srcId="{5CD32D72-A6C2-4E07-92EF-509ACB6D6B84}" destId="{C9D7FD41-5293-4C8A-958C-2ED77A6004FF}" srcOrd="1" destOrd="0" presId="urn:microsoft.com/office/officeart/2005/8/layout/cycle3"/>
    <dgm:cxn modelId="{BB423AB7-EB32-4193-AAC1-526BB70C0B24}" type="presParOf" srcId="{5CD32D72-A6C2-4E07-92EF-509ACB6D6B84}" destId="{FF9A7F4E-61A7-4165-9CDE-959383E90EE6}" srcOrd="2" destOrd="0" presId="urn:microsoft.com/office/officeart/2005/8/layout/cycle3"/>
    <dgm:cxn modelId="{5967D318-4F4E-4C1B-88C9-6F86AB029796}" type="presParOf" srcId="{5CD32D72-A6C2-4E07-92EF-509ACB6D6B84}" destId="{4F455018-EBF4-4209-9D90-5A9A20CE0B0E}" srcOrd="3" destOrd="0" presId="urn:microsoft.com/office/officeart/2005/8/layout/cycle3"/>
    <dgm:cxn modelId="{94FDAC7F-7501-430D-86EF-31B53FC97C7C}" type="presParOf" srcId="{5CD32D72-A6C2-4E07-92EF-509ACB6D6B84}" destId="{B78DA06D-FD10-4DAA-80A9-3416FA1DD1C4}" srcOrd="4" destOrd="0" presId="urn:microsoft.com/office/officeart/2005/8/layout/cycle3"/>
    <dgm:cxn modelId="{B58D135E-91F1-45E3-B889-58F7FDF788EA}" type="presParOf" srcId="{5CD32D72-A6C2-4E07-92EF-509ACB6D6B84}" destId="{A656902B-D635-442F-8465-A64FC9976F3B}" srcOrd="5" destOrd="0" presId="urn:microsoft.com/office/officeart/2005/8/layout/cycle3"/>
    <dgm:cxn modelId="{7F191870-A994-4C3A-8B0C-0E7D726857F2}" type="presParOf" srcId="{5CD32D72-A6C2-4E07-92EF-509ACB6D6B84}" destId="{97F211FA-77BA-41DD-8E61-FA1013089D0A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C0255-9A54-4599-B5CF-ECF1F9B13351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8C93A5E-2C1F-441E-87F7-C8D6E9495E71}">
      <dgm:prSet phldrT="[Текст]" custT="1"/>
      <dgm:spPr>
        <a:solidFill>
          <a:srgbClr val="ABABDD"/>
        </a:solidFill>
        <a:effectLst>
          <a:glow rad="63500">
            <a:schemeClr val="accent1">
              <a:satMod val="175000"/>
              <a:alpha val="40000"/>
            </a:schemeClr>
          </a:glow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800" b="0" dirty="0"/>
            <a:t>Наделить полномочиями ФОИВ по формированию перечня документов педагогов </a:t>
          </a:r>
        </a:p>
      </dgm:t>
    </dgm:pt>
    <dgm:pt modelId="{8D6A64F0-6096-4140-B980-384D35E70EEA}" type="parTrans" cxnId="{BBE7CA5D-DA83-4211-AD1F-0DEB4ECB6AC0}">
      <dgm:prSet/>
      <dgm:spPr/>
      <dgm:t>
        <a:bodyPr/>
        <a:lstStyle/>
        <a:p>
          <a:endParaRPr lang="ru-RU"/>
        </a:p>
      </dgm:t>
    </dgm:pt>
    <dgm:pt modelId="{639094B0-4233-44F7-89FB-009681F7381C}" type="sibTrans" cxnId="{BBE7CA5D-DA83-4211-AD1F-0DEB4ECB6AC0}">
      <dgm:prSet/>
      <dgm:spPr/>
      <dgm:t>
        <a:bodyPr/>
        <a:lstStyle/>
        <a:p>
          <a:endParaRPr lang="ru-RU"/>
        </a:p>
      </dgm:t>
    </dgm:pt>
    <dgm:pt modelId="{8C127259-3AD1-410A-971A-27D023DB930E}">
      <dgm:prSet phldrT="[Текст]" custT="1"/>
      <dgm:spPr>
        <a:solidFill>
          <a:srgbClr val="ABABDD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800" dirty="0"/>
            <a:t>Запретить запрашивать документы за пределами утвержденного ФОИВ перечня </a:t>
          </a:r>
        </a:p>
      </dgm:t>
    </dgm:pt>
    <dgm:pt modelId="{2C893143-9FBA-4074-8C25-57B6F2FEAD53}" type="parTrans" cxnId="{02592741-9E53-4C24-9060-65F1407DB11F}">
      <dgm:prSet/>
      <dgm:spPr/>
      <dgm:t>
        <a:bodyPr/>
        <a:lstStyle/>
        <a:p>
          <a:endParaRPr lang="ru-RU"/>
        </a:p>
      </dgm:t>
    </dgm:pt>
    <dgm:pt modelId="{5E5572AB-51F4-49E5-8AE2-7840731811BC}" type="sibTrans" cxnId="{02592741-9E53-4C24-9060-65F1407DB11F}">
      <dgm:prSet/>
      <dgm:spPr/>
      <dgm:t>
        <a:bodyPr/>
        <a:lstStyle/>
        <a:p>
          <a:endParaRPr lang="ru-RU"/>
        </a:p>
      </dgm:t>
    </dgm:pt>
    <dgm:pt modelId="{B94764FF-EE1C-4BBF-992F-8674E5AAA8E5}">
      <dgm:prSet phldrT="[Текст]" custT="1"/>
      <dgm:spPr>
        <a:solidFill>
          <a:srgbClr val="ABABDD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800" dirty="0"/>
            <a:t>Сформировать основания для запросов </a:t>
          </a:r>
        </a:p>
      </dgm:t>
    </dgm:pt>
    <dgm:pt modelId="{C2526B69-C990-43C7-9A59-A321E33E0DC3}" type="parTrans" cxnId="{02F6CB61-E94A-4615-ADA1-CD87852BEEDD}">
      <dgm:prSet/>
      <dgm:spPr/>
      <dgm:t>
        <a:bodyPr/>
        <a:lstStyle/>
        <a:p>
          <a:endParaRPr lang="ru-RU"/>
        </a:p>
      </dgm:t>
    </dgm:pt>
    <dgm:pt modelId="{D52F5785-BF83-4730-8348-DC09E0567DD0}" type="sibTrans" cxnId="{02F6CB61-E94A-4615-ADA1-CD87852BEEDD}">
      <dgm:prSet/>
      <dgm:spPr/>
      <dgm:t>
        <a:bodyPr/>
        <a:lstStyle/>
        <a:p>
          <a:endParaRPr lang="ru-RU"/>
        </a:p>
      </dgm:t>
    </dgm:pt>
    <dgm:pt modelId="{D36CC0E4-E287-4F48-9E49-7933661DB303}">
      <dgm:prSet phldrT="[Текст]" custT="1"/>
      <dgm:spPr>
        <a:solidFill>
          <a:srgbClr val="ABABDD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800" dirty="0"/>
            <a:t>Разрешить не отвечать на запросы, направленные без оснований </a:t>
          </a:r>
        </a:p>
      </dgm:t>
    </dgm:pt>
    <dgm:pt modelId="{C0C9ED96-3CBC-434C-B750-1A0EE1B57257}" type="parTrans" cxnId="{CDB47F65-82B6-4C08-A33E-244CDA72D5F7}">
      <dgm:prSet/>
      <dgm:spPr/>
      <dgm:t>
        <a:bodyPr/>
        <a:lstStyle/>
        <a:p>
          <a:endParaRPr lang="ru-RU"/>
        </a:p>
      </dgm:t>
    </dgm:pt>
    <dgm:pt modelId="{824EADDB-6459-407E-AC2D-3D3446BC2CCC}" type="sibTrans" cxnId="{CDB47F65-82B6-4C08-A33E-244CDA72D5F7}">
      <dgm:prSet/>
      <dgm:spPr/>
      <dgm:t>
        <a:bodyPr/>
        <a:lstStyle/>
        <a:p>
          <a:endParaRPr lang="ru-RU"/>
        </a:p>
      </dgm:t>
    </dgm:pt>
    <dgm:pt modelId="{E71A42F3-1E4B-49E6-B96C-CA2C9FC08507}" type="pres">
      <dgm:prSet presAssocID="{E06C0255-9A54-4599-B5CF-ECF1F9B1335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C83C6D7-CA53-4659-A3CB-217167C3C37C}" type="pres">
      <dgm:prSet presAssocID="{D8C93A5E-2C1F-441E-87F7-C8D6E9495E7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65EA25A-A0B8-4D54-A3A9-72F0CC1D2B86}" type="pres">
      <dgm:prSet presAssocID="{639094B0-4233-44F7-89FB-009681F7381C}" presName="sibTrans" presStyleCnt="0"/>
      <dgm:spPr/>
    </dgm:pt>
    <dgm:pt modelId="{65809589-AB2C-4F4F-B1EA-8D8176773507}" type="pres">
      <dgm:prSet presAssocID="{8C127259-3AD1-410A-971A-27D023DB930E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DA16AD-E6A3-4C53-A3AA-0B4C39C07BCD}" type="pres">
      <dgm:prSet presAssocID="{5E5572AB-51F4-49E5-8AE2-7840731811BC}" presName="sibTrans" presStyleCnt="0"/>
      <dgm:spPr/>
    </dgm:pt>
    <dgm:pt modelId="{97188957-5B9D-4ADF-9E5A-A459DD3419AB}" type="pres">
      <dgm:prSet presAssocID="{B94764FF-EE1C-4BBF-992F-8674E5AAA8E5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426A30-EF7E-44F0-BCA2-2E96D3B34D02}" type="pres">
      <dgm:prSet presAssocID="{D52F5785-BF83-4730-8348-DC09E0567DD0}" presName="sibTrans" presStyleCnt="0"/>
      <dgm:spPr/>
    </dgm:pt>
    <dgm:pt modelId="{060B841A-1511-4CB3-A978-F582D19D3273}" type="pres">
      <dgm:prSet presAssocID="{D36CC0E4-E287-4F48-9E49-7933661DB303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E18F9F1-50FD-4C78-BE08-9F046AA17AC2}" type="presOf" srcId="{8C127259-3AD1-410A-971A-27D023DB930E}" destId="{65809589-AB2C-4F4F-B1EA-8D8176773507}" srcOrd="0" destOrd="0" presId="urn:microsoft.com/office/officeart/2005/8/layout/default"/>
    <dgm:cxn modelId="{CDB47F65-82B6-4C08-A33E-244CDA72D5F7}" srcId="{E06C0255-9A54-4599-B5CF-ECF1F9B13351}" destId="{D36CC0E4-E287-4F48-9E49-7933661DB303}" srcOrd="3" destOrd="0" parTransId="{C0C9ED96-3CBC-434C-B750-1A0EE1B57257}" sibTransId="{824EADDB-6459-407E-AC2D-3D3446BC2CCC}"/>
    <dgm:cxn modelId="{FEF17D38-C2E0-46E0-8A47-AE6B3A470282}" type="presOf" srcId="{B94764FF-EE1C-4BBF-992F-8674E5AAA8E5}" destId="{97188957-5B9D-4ADF-9E5A-A459DD3419AB}" srcOrd="0" destOrd="0" presId="urn:microsoft.com/office/officeart/2005/8/layout/default"/>
    <dgm:cxn modelId="{9DEE13ED-06CD-4905-B1D9-691182324B56}" type="presOf" srcId="{D8C93A5E-2C1F-441E-87F7-C8D6E9495E71}" destId="{3C83C6D7-CA53-4659-A3CB-217167C3C37C}" srcOrd="0" destOrd="0" presId="urn:microsoft.com/office/officeart/2005/8/layout/default"/>
    <dgm:cxn modelId="{BBE7CA5D-DA83-4211-AD1F-0DEB4ECB6AC0}" srcId="{E06C0255-9A54-4599-B5CF-ECF1F9B13351}" destId="{D8C93A5E-2C1F-441E-87F7-C8D6E9495E71}" srcOrd="0" destOrd="0" parTransId="{8D6A64F0-6096-4140-B980-384D35E70EEA}" sibTransId="{639094B0-4233-44F7-89FB-009681F7381C}"/>
    <dgm:cxn modelId="{8CAA47A6-77DC-4E28-9163-9499E92D9953}" type="presOf" srcId="{D36CC0E4-E287-4F48-9E49-7933661DB303}" destId="{060B841A-1511-4CB3-A978-F582D19D3273}" srcOrd="0" destOrd="0" presId="urn:microsoft.com/office/officeart/2005/8/layout/default"/>
    <dgm:cxn modelId="{02592741-9E53-4C24-9060-65F1407DB11F}" srcId="{E06C0255-9A54-4599-B5CF-ECF1F9B13351}" destId="{8C127259-3AD1-410A-971A-27D023DB930E}" srcOrd="1" destOrd="0" parTransId="{2C893143-9FBA-4074-8C25-57B6F2FEAD53}" sibTransId="{5E5572AB-51F4-49E5-8AE2-7840731811BC}"/>
    <dgm:cxn modelId="{02F6CB61-E94A-4615-ADA1-CD87852BEEDD}" srcId="{E06C0255-9A54-4599-B5CF-ECF1F9B13351}" destId="{B94764FF-EE1C-4BBF-992F-8674E5AAA8E5}" srcOrd="2" destOrd="0" parTransId="{C2526B69-C990-43C7-9A59-A321E33E0DC3}" sibTransId="{D52F5785-BF83-4730-8348-DC09E0567DD0}"/>
    <dgm:cxn modelId="{E5F625EF-6238-445A-A652-638270844C9D}" type="presOf" srcId="{E06C0255-9A54-4599-B5CF-ECF1F9B13351}" destId="{E71A42F3-1E4B-49E6-B96C-CA2C9FC08507}" srcOrd="0" destOrd="0" presId="urn:microsoft.com/office/officeart/2005/8/layout/default"/>
    <dgm:cxn modelId="{F7856A15-76D5-4DC9-938D-1FEFB4E8D0B7}" type="presParOf" srcId="{E71A42F3-1E4B-49E6-B96C-CA2C9FC08507}" destId="{3C83C6D7-CA53-4659-A3CB-217167C3C37C}" srcOrd="0" destOrd="0" presId="urn:microsoft.com/office/officeart/2005/8/layout/default"/>
    <dgm:cxn modelId="{EF335ECA-27C1-4EBD-9AEF-D582F07F9117}" type="presParOf" srcId="{E71A42F3-1E4B-49E6-B96C-CA2C9FC08507}" destId="{665EA25A-A0B8-4D54-A3A9-72F0CC1D2B86}" srcOrd="1" destOrd="0" presId="urn:microsoft.com/office/officeart/2005/8/layout/default"/>
    <dgm:cxn modelId="{8F6C3CF9-5BCB-44A5-9981-7A2D25F599FA}" type="presParOf" srcId="{E71A42F3-1E4B-49E6-B96C-CA2C9FC08507}" destId="{65809589-AB2C-4F4F-B1EA-8D8176773507}" srcOrd="2" destOrd="0" presId="urn:microsoft.com/office/officeart/2005/8/layout/default"/>
    <dgm:cxn modelId="{DC95C82A-5F8A-4B3B-8839-60C90B745EBD}" type="presParOf" srcId="{E71A42F3-1E4B-49E6-B96C-CA2C9FC08507}" destId="{F8DA16AD-E6A3-4C53-A3AA-0B4C39C07BCD}" srcOrd="3" destOrd="0" presId="urn:microsoft.com/office/officeart/2005/8/layout/default"/>
    <dgm:cxn modelId="{4D212823-842D-4E6E-BBAC-AFB32F69750B}" type="presParOf" srcId="{E71A42F3-1E4B-49E6-B96C-CA2C9FC08507}" destId="{97188957-5B9D-4ADF-9E5A-A459DD3419AB}" srcOrd="4" destOrd="0" presId="urn:microsoft.com/office/officeart/2005/8/layout/default"/>
    <dgm:cxn modelId="{01536223-0F34-46B4-A48E-4069B4E9A742}" type="presParOf" srcId="{E71A42F3-1E4B-49E6-B96C-CA2C9FC08507}" destId="{6D426A30-EF7E-44F0-BCA2-2E96D3B34D02}" srcOrd="5" destOrd="0" presId="urn:microsoft.com/office/officeart/2005/8/layout/default"/>
    <dgm:cxn modelId="{CDC7021F-5A7B-4393-A5EC-60C6A55E6577}" type="presParOf" srcId="{E71A42F3-1E4B-49E6-B96C-CA2C9FC08507}" destId="{060B841A-1511-4CB3-A978-F582D19D3273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FE1EE0-DE40-49F8-8000-91B925B90253}" type="doc">
      <dgm:prSet loTypeId="urn:microsoft.com/office/officeart/2005/8/layout/list1" loCatId="list" qsTypeId="urn:microsoft.com/office/officeart/2005/8/quickstyle/simple3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B4C2A289-BF1A-4D39-8149-024960CC5E8E}">
      <dgm:prSet phldrT="[Текст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400" b="1" dirty="0">
              <a:solidFill>
                <a:schemeClr val="tx2">
                  <a:lumMod val="75000"/>
                </a:schemeClr>
              </a:solidFill>
            </a:rPr>
            <a:t>Необходимость выполнения поручений, указов Президента РФ</a:t>
          </a:r>
        </a:p>
      </dgm:t>
    </dgm:pt>
    <dgm:pt modelId="{FF357FFA-9AA6-4442-A3F7-B8A05C8816C0}" type="parTrans" cxnId="{14A0911A-1DBC-401D-9D07-6EE7D04F6C7C}">
      <dgm:prSet/>
      <dgm:spPr/>
      <dgm:t>
        <a:bodyPr/>
        <a:lstStyle/>
        <a:p>
          <a:endParaRPr lang="ru-RU"/>
        </a:p>
      </dgm:t>
    </dgm:pt>
    <dgm:pt modelId="{BC95FBC6-32D3-4C50-9238-810177DE9EF4}" type="sibTrans" cxnId="{14A0911A-1DBC-401D-9D07-6EE7D04F6C7C}">
      <dgm:prSet/>
      <dgm:spPr/>
      <dgm:t>
        <a:bodyPr/>
        <a:lstStyle/>
        <a:p>
          <a:endParaRPr lang="ru-RU"/>
        </a:p>
      </dgm:t>
    </dgm:pt>
    <dgm:pt modelId="{15B88FA5-E868-4482-9E6D-E8DC37B72889}">
      <dgm:prSet phldrT="[Текст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400" b="1" dirty="0"/>
            <a:t>Необходимость выполнения поручений Председателя и заместителей Председателя правительства </a:t>
          </a:r>
        </a:p>
      </dgm:t>
    </dgm:pt>
    <dgm:pt modelId="{4F68949D-849B-4DC7-94A7-6A8CC99E4199}" type="parTrans" cxnId="{9ABB5C0E-0A03-4542-AB30-16BDCB29ED55}">
      <dgm:prSet/>
      <dgm:spPr/>
      <dgm:t>
        <a:bodyPr/>
        <a:lstStyle/>
        <a:p>
          <a:endParaRPr lang="ru-RU"/>
        </a:p>
      </dgm:t>
    </dgm:pt>
    <dgm:pt modelId="{CBC1C9D8-58C6-4EFF-A2E9-7221454EF3D1}" type="sibTrans" cxnId="{9ABB5C0E-0A03-4542-AB30-16BDCB29ED55}">
      <dgm:prSet/>
      <dgm:spPr/>
      <dgm:t>
        <a:bodyPr/>
        <a:lstStyle/>
        <a:p>
          <a:endParaRPr lang="ru-RU"/>
        </a:p>
      </dgm:t>
    </dgm:pt>
    <dgm:pt modelId="{8CD44386-9C65-4E22-952F-9E7C5A805944}">
      <dgm:prSet phldrT="[Текст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400" b="1" dirty="0"/>
            <a:t>Требования федерального </a:t>
          </a:r>
          <a:r>
            <a:rPr lang="ru-RU" sz="2400" b="1" dirty="0" err="1"/>
            <a:t>законодательсва</a:t>
          </a:r>
          <a:r>
            <a:rPr lang="ru-RU" sz="2400" b="1" dirty="0"/>
            <a:t> </a:t>
          </a:r>
        </a:p>
      </dgm:t>
    </dgm:pt>
    <dgm:pt modelId="{52CC0440-3567-4B16-B694-1925576EF85B}" type="parTrans" cxnId="{9B371542-AE2A-4033-A063-0D8D05AEFF4C}">
      <dgm:prSet/>
      <dgm:spPr/>
      <dgm:t>
        <a:bodyPr/>
        <a:lstStyle/>
        <a:p>
          <a:endParaRPr lang="ru-RU"/>
        </a:p>
      </dgm:t>
    </dgm:pt>
    <dgm:pt modelId="{597133C0-CB13-426F-9440-987EECBD2F40}" type="sibTrans" cxnId="{9B371542-AE2A-4033-A063-0D8D05AEFF4C}">
      <dgm:prSet/>
      <dgm:spPr/>
      <dgm:t>
        <a:bodyPr/>
        <a:lstStyle/>
        <a:p>
          <a:endParaRPr lang="ru-RU"/>
        </a:p>
      </dgm:t>
    </dgm:pt>
    <dgm:pt modelId="{4DE90CC8-8FD9-487C-896A-B1FD584F0B35}">
      <dgm:prSet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400" b="1" dirty="0"/>
            <a:t>Необходимость получения информации для реализации национальных проектов и программ Российской Федерации</a:t>
          </a:r>
        </a:p>
      </dgm:t>
    </dgm:pt>
    <dgm:pt modelId="{4C4C618B-D7B3-4937-B7E6-AA7D8B176301}" type="parTrans" cxnId="{6D1966FB-E8FC-4FBC-8CA0-310C49EF904F}">
      <dgm:prSet/>
      <dgm:spPr/>
      <dgm:t>
        <a:bodyPr/>
        <a:lstStyle/>
        <a:p>
          <a:endParaRPr lang="ru-RU"/>
        </a:p>
      </dgm:t>
    </dgm:pt>
    <dgm:pt modelId="{189E3C7A-FAB1-402E-A533-B43E7900D5DC}" type="sibTrans" cxnId="{6D1966FB-E8FC-4FBC-8CA0-310C49EF904F}">
      <dgm:prSet/>
      <dgm:spPr/>
      <dgm:t>
        <a:bodyPr/>
        <a:lstStyle/>
        <a:p>
          <a:endParaRPr lang="ru-RU"/>
        </a:p>
      </dgm:t>
    </dgm:pt>
    <dgm:pt modelId="{C9E988F1-4FE4-4E86-A74B-CFE1A02DDF69}">
      <dgm:prSet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400" b="1" dirty="0"/>
            <a:t>Отсутствие информации в  имеющихся информационных системах и в открытых источниках </a:t>
          </a:r>
        </a:p>
      </dgm:t>
    </dgm:pt>
    <dgm:pt modelId="{72A55355-77FC-4DB1-9299-7F121D32E48B}" type="parTrans" cxnId="{7F5EEABC-762F-407B-8F91-3F41CCA7F273}">
      <dgm:prSet/>
      <dgm:spPr/>
      <dgm:t>
        <a:bodyPr/>
        <a:lstStyle/>
        <a:p>
          <a:endParaRPr lang="ru-RU"/>
        </a:p>
      </dgm:t>
    </dgm:pt>
    <dgm:pt modelId="{F9FA945D-722B-4959-B459-FA06EDF0F0BA}" type="sibTrans" cxnId="{7F5EEABC-762F-407B-8F91-3F41CCA7F273}">
      <dgm:prSet/>
      <dgm:spPr/>
      <dgm:t>
        <a:bodyPr/>
        <a:lstStyle/>
        <a:p>
          <a:endParaRPr lang="ru-RU"/>
        </a:p>
      </dgm:t>
    </dgm:pt>
    <dgm:pt modelId="{64B2C32E-31E8-492D-AF21-EAAE410326B2}" type="pres">
      <dgm:prSet presAssocID="{D4FE1EE0-DE40-49F8-8000-91B925B9025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04857E9-822B-4F07-A063-E63923D8D749}" type="pres">
      <dgm:prSet presAssocID="{B4C2A289-BF1A-4D39-8149-024960CC5E8E}" presName="parentLin" presStyleCnt="0"/>
      <dgm:spPr/>
    </dgm:pt>
    <dgm:pt modelId="{2B1B5CBA-C58A-44A5-B85D-19E70E51C26C}" type="pres">
      <dgm:prSet presAssocID="{B4C2A289-BF1A-4D39-8149-024960CC5E8E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960D5D18-AD46-4607-9440-A55BFD90895D}" type="pres">
      <dgm:prSet presAssocID="{B4C2A289-BF1A-4D39-8149-024960CC5E8E}" presName="parentText" presStyleLbl="node1" presStyleIdx="0" presStyleCnt="5" custScaleX="119023" custScaleY="19627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5757BC-2F86-482B-8DBF-62663CEB521D}" type="pres">
      <dgm:prSet presAssocID="{B4C2A289-BF1A-4D39-8149-024960CC5E8E}" presName="negativeSpace" presStyleCnt="0"/>
      <dgm:spPr/>
    </dgm:pt>
    <dgm:pt modelId="{36717471-8AEB-47B2-B27C-A0452D034E6F}" type="pres">
      <dgm:prSet presAssocID="{B4C2A289-BF1A-4D39-8149-024960CC5E8E}" presName="childText" presStyleLbl="conFgAcc1" presStyleIdx="0" presStyleCnt="5">
        <dgm:presLayoutVars>
          <dgm:bulletEnabled val="1"/>
        </dgm:presLayoutVars>
      </dgm:prSet>
      <dgm:spPr/>
    </dgm:pt>
    <dgm:pt modelId="{1451526D-A1AD-447F-A003-D81EE1643E98}" type="pres">
      <dgm:prSet presAssocID="{BC95FBC6-32D3-4C50-9238-810177DE9EF4}" presName="spaceBetweenRectangles" presStyleCnt="0"/>
      <dgm:spPr/>
    </dgm:pt>
    <dgm:pt modelId="{F287D05D-11B8-4D5C-BD7E-55AE3D6FE0E7}" type="pres">
      <dgm:prSet presAssocID="{15B88FA5-E868-4482-9E6D-E8DC37B72889}" presName="parentLin" presStyleCnt="0"/>
      <dgm:spPr/>
    </dgm:pt>
    <dgm:pt modelId="{6F7FF16D-0178-472C-8325-E0E436D19491}" type="pres">
      <dgm:prSet presAssocID="{15B88FA5-E868-4482-9E6D-E8DC37B72889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06C7F8F4-081F-4AEA-90AF-30E30294E379}" type="pres">
      <dgm:prSet presAssocID="{15B88FA5-E868-4482-9E6D-E8DC37B72889}" presName="parentText" presStyleLbl="node1" presStyleIdx="1" presStyleCnt="5" custScaleX="119653" custScaleY="19481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045EC3-DA47-46D0-B2AA-DD27380C7125}" type="pres">
      <dgm:prSet presAssocID="{15B88FA5-E868-4482-9E6D-E8DC37B72889}" presName="negativeSpace" presStyleCnt="0"/>
      <dgm:spPr/>
    </dgm:pt>
    <dgm:pt modelId="{6CB3A12D-977C-4F92-B69C-3A846A0F899E}" type="pres">
      <dgm:prSet presAssocID="{15B88FA5-E868-4482-9E6D-E8DC37B72889}" presName="childText" presStyleLbl="conFgAcc1" presStyleIdx="1" presStyleCnt="5">
        <dgm:presLayoutVars>
          <dgm:bulletEnabled val="1"/>
        </dgm:presLayoutVars>
      </dgm:prSet>
      <dgm:spPr/>
    </dgm:pt>
    <dgm:pt modelId="{B3B9CB87-D4AA-453C-A070-E0757688E66F}" type="pres">
      <dgm:prSet presAssocID="{CBC1C9D8-58C6-4EFF-A2E9-7221454EF3D1}" presName="spaceBetweenRectangles" presStyleCnt="0"/>
      <dgm:spPr/>
    </dgm:pt>
    <dgm:pt modelId="{4FFA1645-4F22-4CD0-8521-EAF1A218F3BB}" type="pres">
      <dgm:prSet presAssocID="{8CD44386-9C65-4E22-952F-9E7C5A805944}" presName="parentLin" presStyleCnt="0"/>
      <dgm:spPr/>
    </dgm:pt>
    <dgm:pt modelId="{982F703D-3451-4B63-874A-6CA195B77DF8}" type="pres">
      <dgm:prSet presAssocID="{8CD44386-9C65-4E22-952F-9E7C5A805944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C519B15F-DBC9-451B-905D-A363EAF1263F}" type="pres">
      <dgm:prSet presAssocID="{8CD44386-9C65-4E22-952F-9E7C5A805944}" presName="parentText" presStyleLbl="node1" presStyleIdx="2" presStyleCnt="5" custScaleX="119307" custScaleY="18158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0101D9-67C0-4D40-8BB1-266ED35D301A}" type="pres">
      <dgm:prSet presAssocID="{8CD44386-9C65-4E22-952F-9E7C5A805944}" presName="negativeSpace" presStyleCnt="0"/>
      <dgm:spPr/>
    </dgm:pt>
    <dgm:pt modelId="{B2681058-006E-482D-A943-81A9E568DF72}" type="pres">
      <dgm:prSet presAssocID="{8CD44386-9C65-4E22-952F-9E7C5A805944}" presName="childText" presStyleLbl="conFgAcc1" presStyleIdx="2" presStyleCnt="5" custLinFactNeighborX="668" custLinFactNeighborY="45277">
        <dgm:presLayoutVars>
          <dgm:bulletEnabled val="1"/>
        </dgm:presLayoutVars>
      </dgm:prSet>
      <dgm:spPr/>
    </dgm:pt>
    <dgm:pt modelId="{6D4DE7F5-9BE0-4A2D-B964-F5B4982BCBFF}" type="pres">
      <dgm:prSet presAssocID="{597133C0-CB13-426F-9440-987EECBD2F40}" presName="spaceBetweenRectangles" presStyleCnt="0"/>
      <dgm:spPr/>
    </dgm:pt>
    <dgm:pt modelId="{7458E1DA-BF1D-412D-A2FF-00346B6622A7}" type="pres">
      <dgm:prSet presAssocID="{4DE90CC8-8FD9-487C-896A-B1FD584F0B35}" presName="parentLin" presStyleCnt="0"/>
      <dgm:spPr/>
    </dgm:pt>
    <dgm:pt modelId="{661353C8-86BE-4CD8-8BB8-5B7F22D1B065}" type="pres">
      <dgm:prSet presAssocID="{4DE90CC8-8FD9-487C-896A-B1FD584F0B35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55522046-88B4-403E-833E-791368CE8401}" type="pres">
      <dgm:prSet presAssocID="{4DE90CC8-8FD9-487C-896A-B1FD584F0B35}" presName="parentText" presStyleLbl="node1" presStyleIdx="3" presStyleCnt="5" custScaleX="119307" custScaleY="19851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F68189-6BAE-46DB-8061-5206266A69EA}" type="pres">
      <dgm:prSet presAssocID="{4DE90CC8-8FD9-487C-896A-B1FD584F0B35}" presName="negativeSpace" presStyleCnt="0"/>
      <dgm:spPr/>
    </dgm:pt>
    <dgm:pt modelId="{CE8B9115-1264-475B-BBE2-88BBC756397D}" type="pres">
      <dgm:prSet presAssocID="{4DE90CC8-8FD9-487C-896A-B1FD584F0B35}" presName="childText" presStyleLbl="conFgAcc1" presStyleIdx="3" presStyleCnt="5">
        <dgm:presLayoutVars>
          <dgm:bulletEnabled val="1"/>
        </dgm:presLayoutVars>
      </dgm:prSet>
      <dgm:spPr/>
    </dgm:pt>
    <dgm:pt modelId="{576C4A70-1709-4C5F-A408-B3BA224ACAC0}" type="pres">
      <dgm:prSet presAssocID="{189E3C7A-FAB1-402E-A533-B43E7900D5DC}" presName="spaceBetweenRectangles" presStyleCnt="0"/>
      <dgm:spPr/>
    </dgm:pt>
    <dgm:pt modelId="{7A9B5C8A-A2CA-4BD5-9DA8-FA096A3CD6A7}" type="pres">
      <dgm:prSet presAssocID="{C9E988F1-4FE4-4E86-A74B-CFE1A02DDF69}" presName="parentLin" presStyleCnt="0"/>
      <dgm:spPr/>
    </dgm:pt>
    <dgm:pt modelId="{1B29CE99-8D7F-487E-BA04-2E6A02253E50}" type="pres">
      <dgm:prSet presAssocID="{C9E988F1-4FE4-4E86-A74B-CFE1A02DDF69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292850F0-6351-409C-9F14-0ACD4070880F}" type="pres">
      <dgm:prSet presAssocID="{C9E988F1-4FE4-4E86-A74B-CFE1A02DDF69}" presName="parentText" presStyleLbl="node1" presStyleIdx="4" presStyleCnt="5" custScaleX="120341" custScaleY="20969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ECF982-AA9A-438A-8C0E-FF5DBE5149B8}" type="pres">
      <dgm:prSet presAssocID="{C9E988F1-4FE4-4E86-A74B-CFE1A02DDF69}" presName="negativeSpace" presStyleCnt="0"/>
      <dgm:spPr/>
    </dgm:pt>
    <dgm:pt modelId="{2CF99F47-9067-4BFF-A1BB-D668AE251548}" type="pres">
      <dgm:prSet presAssocID="{C9E988F1-4FE4-4E86-A74B-CFE1A02DDF69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9B401374-D12F-469C-9572-5E8C5AA7968D}" type="presOf" srcId="{15B88FA5-E868-4482-9E6D-E8DC37B72889}" destId="{06C7F8F4-081F-4AEA-90AF-30E30294E379}" srcOrd="1" destOrd="0" presId="urn:microsoft.com/office/officeart/2005/8/layout/list1"/>
    <dgm:cxn modelId="{C915BA50-7AB0-4137-831D-10F5D5D51C64}" type="presOf" srcId="{B4C2A289-BF1A-4D39-8149-024960CC5E8E}" destId="{960D5D18-AD46-4607-9440-A55BFD90895D}" srcOrd="1" destOrd="0" presId="urn:microsoft.com/office/officeart/2005/8/layout/list1"/>
    <dgm:cxn modelId="{74919566-0CAA-4AEB-962E-ACC9790845C2}" type="presOf" srcId="{4DE90CC8-8FD9-487C-896A-B1FD584F0B35}" destId="{55522046-88B4-403E-833E-791368CE8401}" srcOrd="1" destOrd="0" presId="urn:microsoft.com/office/officeart/2005/8/layout/list1"/>
    <dgm:cxn modelId="{9ABB5C0E-0A03-4542-AB30-16BDCB29ED55}" srcId="{D4FE1EE0-DE40-49F8-8000-91B925B90253}" destId="{15B88FA5-E868-4482-9E6D-E8DC37B72889}" srcOrd="1" destOrd="0" parTransId="{4F68949D-849B-4DC7-94A7-6A8CC99E4199}" sibTransId="{CBC1C9D8-58C6-4EFF-A2E9-7221454EF3D1}"/>
    <dgm:cxn modelId="{BAFBECDB-FD5D-4B8E-8519-440247129050}" type="presOf" srcId="{C9E988F1-4FE4-4E86-A74B-CFE1A02DDF69}" destId="{1B29CE99-8D7F-487E-BA04-2E6A02253E50}" srcOrd="0" destOrd="0" presId="urn:microsoft.com/office/officeart/2005/8/layout/list1"/>
    <dgm:cxn modelId="{7B339EBA-BF59-4F72-9042-3FED136B1BC7}" type="presOf" srcId="{8CD44386-9C65-4E22-952F-9E7C5A805944}" destId="{C519B15F-DBC9-451B-905D-A363EAF1263F}" srcOrd="1" destOrd="0" presId="urn:microsoft.com/office/officeart/2005/8/layout/list1"/>
    <dgm:cxn modelId="{DFAB91E2-FA4A-48AF-853F-70284B8D444E}" type="presOf" srcId="{D4FE1EE0-DE40-49F8-8000-91B925B90253}" destId="{64B2C32E-31E8-492D-AF21-EAAE410326B2}" srcOrd="0" destOrd="0" presId="urn:microsoft.com/office/officeart/2005/8/layout/list1"/>
    <dgm:cxn modelId="{6D1966FB-E8FC-4FBC-8CA0-310C49EF904F}" srcId="{D4FE1EE0-DE40-49F8-8000-91B925B90253}" destId="{4DE90CC8-8FD9-487C-896A-B1FD584F0B35}" srcOrd="3" destOrd="0" parTransId="{4C4C618B-D7B3-4937-B7E6-AA7D8B176301}" sibTransId="{189E3C7A-FAB1-402E-A533-B43E7900D5DC}"/>
    <dgm:cxn modelId="{BAFD742F-8CC2-4C69-819F-107B4BC5154F}" type="presOf" srcId="{8CD44386-9C65-4E22-952F-9E7C5A805944}" destId="{982F703D-3451-4B63-874A-6CA195B77DF8}" srcOrd="0" destOrd="0" presId="urn:microsoft.com/office/officeart/2005/8/layout/list1"/>
    <dgm:cxn modelId="{7F5EEABC-762F-407B-8F91-3F41CCA7F273}" srcId="{D4FE1EE0-DE40-49F8-8000-91B925B90253}" destId="{C9E988F1-4FE4-4E86-A74B-CFE1A02DDF69}" srcOrd="4" destOrd="0" parTransId="{72A55355-77FC-4DB1-9299-7F121D32E48B}" sibTransId="{F9FA945D-722B-4959-B459-FA06EDF0F0BA}"/>
    <dgm:cxn modelId="{D3904B05-6A6D-4258-90A0-4ADDA667EA82}" type="presOf" srcId="{15B88FA5-E868-4482-9E6D-E8DC37B72889}" destId="{6F7FF16D-0178-472C-8325-E0E436D19491}" srcOrd="0" destOrd="0" presId="urn:microsoft.com/office/officeart/2005/8/layout/list1"/>
    <dgm:cxn modelId="{9B371542-AE2A-4033-A063-0D8D05AEFF4C}" srcId="{D4FE1EE0-DE40-49F8-8000-91B925B90253}" destId="{8CD44386-9C65-4E22-952F-9E7C5A805944}" srcOrd="2" destOrd="0" parTransId="{52CC0440-3567-4B16-B694-1925576EF85B}" sibTransId="{597133C0-CB13-426F-9440-987EECBD2F40}"/>
    <dgm:cxn modelId="{14A0911A-1DBC-401D-9D07-6EE7D04F6C7C}" srcId="{D4FE1EE0-DE40-49F8-8000-91B925B90253}" destId="{B4C2A289-BF1A-4D39-8149-024960CC5E8E}" srcOrd="0" destOrd="0" parTransId="{FF357FFA-9AA6-4442-A3F7-B8A05C8816C0}" sibTransId="{BC95FBC6-32D3-4C50-9238-810177DE9EF4}"/>
    <dgm:cxn modelId="{DFAD097F-DD95-4233-B5C3-792FA9B835C7}" type="presOf" srcId="{4DE90CC8-8FD9-487C-896A-B1FD584F0B35}" destId="{661353C8-86BE-4CD8-8BB8-5B7F22D1B065}" srcOrd="0" destOrd="0" presId="urn:microsoft.com/office/officeart/2005/8/layout/list1"/>
    <dgm:cxn modelId="{11A43D8D-A2B9-42CE-9883-AF35CEB27A7A}" type="presOf" srcId="{B4C2A289-BF1A-4D39-8149-024960CC5E8E}" destId="{2B1B5CBA-C58A-44A5-B85D-19E70E51C26C}" srcOrd="0" destOrd="0" presId="urn:microsoft.com/office/officeart/2005/8/layout/list1"/>
    <dgm:cxn modelId="{E9D7FE36-EA15-4FFD-AA0D-ABBD5624E672}" type="presOf" srcId="{C9E988F1-4FE4-4E86-A74B-CFE1A02DDF69}" destId="{292850F0-6351-409C-9F14-0ACD4070880F}" srcOrd="1" destOrd="0" presId="urn:microsoft.com/office/officeart/2005/8/layout/list1"/>
    <dgm:cxn modelId="{7E6529FF-6136-44C4-BD52-BD191E9EC651}" type="presParOf" srcId="{64B2C32E-31E8-492D-AF21-EAAE410326B2}" destId="{004857E9-822B-4F07-A063-E63923D8D749}" srcOrd="0" destOrd="0" presId="urn:microsoft.com/office/officeart/2005/8/layout/list1"/>
    <dgm:cxn modelId="{0E4CF1BB-69CE-43F0-AA26-6D1B6711D7E5}" type="presParOf" srcId="{004857E9-822B-4F07-A063-E63923D8D749}" destId="{2B1B5CBA-C58A-44A5-B85D-19E70E51C26C}" srcOrd="0" destOrd="0" presId="urn:microsoft.com/office/officeart/2005/8/layout/list1"/>
    <dgm:cxn modelId="{440C8033-F754-45AF-85BD-06C650E4E5E1}" type="presParOf" srcId="{004857E9-822B-4F07-A063-E63923D8D749}" destId="{960D5D18-AD46-4607-9440-A55BFD90895D}" srcOrd="1" destOrd="0" presId="urn:microsoft.com/office/officeart/2005/8/layout/list1"/>
    <dgm:cxn modelId="{EBA4A10A-9E3A-46B4-B1F5-36C1F307604D}" type="presParOf" srcId="{64B2C32E-31E8-492D-AF21-EAAE410326B2}" destId="{305757BC-2F86-482B-8DBF-62663CEB521D}" srcOrd="1" destOrd="0" presId="urn:microsoft.com/office/officeart/2005/8/layout/list1"/>
    <dgm:cxn modelId="{4A86D090-EBEC-48A0-AF2D-0B3AAB9AC52B}" type="presParOf" srcId="{64B2C32E-31E8-492D-AF21-EAAE410326B2}" destId="{36717471-8AEB-47B2-B27C-A0452D034E6F}" srcOrd="2" destOrd="0" presId="urn:microsoft.com/office/officeart/2005/8/layout/list1"/>
    <dgm:cxn modelId="{8355B956-4BE9-49FB-9EAB-922470F00C26}" type="presParOf" srcId="{64B2C32E-31E8-492D-AF21-EAAE410326B2}" destId="{1451526D-A1AD-447F-A003-D81EE1643E98}" srcOrd="3" destOrd="0" presId="urn:microsoft.com/office/officeart/2005/8/layout/list1"/>
    <dgm:cxn modelId="{13CDF60E-29C1-4B53-B252-6364E4EC2075}" type="presParOf" srcId="{64B2C32E-31E8-492D-AF21-EAAE410326B2}" destId="{F287D05D-11B8-4D5C-BD7E-55AE3D6FE0E7}" srcOrd="4" destOrd="0" presId="urn:microsoft.com/office/officeart/2005/8/layout/list1"/>
    <dgm:cxn modelId="{A6BACCBF-9ECA-4710-8593-8E383A856410}" type="presParOf" srcId="{F287D05D-11B8-4D5C-BD7E-55AE3D6FE0E7}" destId="{6F7FF16D-0178-472C-8325-E0E436D19491}" srcOrd="0" destOrd="0" presId="urn:microsoft.com/office/officeart/2005/8/layout/list1"/>
    <dgm:cxn modelId="{A2F9BF18-0A7E-40BA-9BB7-BD77668780D3}" type="presParOf" srcId="{F287D05D-11B8-4D5C-BD7E-55AE3D6FE0E7}" destId="{06C7F8F4-081F-4AEA-90AF-30E30294E379}" srcOrd="1" destOrd="0" presId="urn:microsoft.com/office/officeart/2005/8/layout/list1"/>
    <dgm:cxn modelId="{1C81977D-5D89-4A22-A94E-F48536274654}" type="presParOf" srcId="{64B2C32E-31E8-492D-AF21-EAAE410326B2}" destId="{0C045EC3-DA47-46D0-B2AA-DD27380C7125}" srcOrd="5" destOrd="0" presId="urn:microsoft.com/office/officeart/2005/8/layout/list1"/>
    <dgm:cxn modelId="{BBAA533A-AD10-4BAE-8B80-D42415707C25}" type="presParOf" srcId="{64B2C32E-31E8-492D-AF21-EAAE410326B2}" destId="{6CB3A12D-977C-4F92-B69C-3A846A0F899E}" srcOrd="6" destOrd="0" presId="urn:microsoft.com/office/officeart/2005/8/layout/list1"/>
    <dgm:cxn modelId="{982985BD-ED79-47CA-B1ED-2B6EF11FB0AA}" type="presParOf" srcId="{64B2C32E-31E8-492D-AF21-EAAE410326B2}" destId="{B3B9CB87-D4AA-453C-A070-E0757688E66F}" srcOrd="7" destOrd="0" presId="urn:microsoft.com/office/officeart/2005/8/layout/list1"/>
    <dgm:cxn modelId="{78522EE4-7CD2-4829-8D44-1AB33B9A56E0}" type="presParOf" srcId="{64B2C32E-31E8-492D-AF21-EAAE410326B2}" destId="{4FFA1645-4F22-4CD0-8521-EAF1A218F3BB}" srcOrd="8" destOrd="0" presId="urn:microsoft.com/office/officeart/2005/8/layout/list1"/>
    <dgm:cxn modelId="{C1B51BAB-995F-492D-9194-D987C65165B5}" type="presParOf" srcId="{4FFA1645-4F22-4CD0-8521-EAF1A218F3BB}" destId="{982F703D-3451-4B63-874A-6CA195B77DF8}" srcOrd="0" destOrd="0" presId="urn:microsoft.com/office/officeart/2005/8/layout/list1"/>
    <dgm:cxn modelId="{509506BA-4A75-4E00-A9AE-F9B420EFA896}" type="presParOf" srcId="{4FFA1645-4F22-4CD0-8521-EAF1A218F3BB}" destId="{C519B15F-DBC9-451B-905D-A363EAF1263F}" srcOrd="1" destOrd="0" presId="urn:microsoft.com/office/officeart/2005/8/layout/list1"/>
    <dgm:cxn modelId="{1C8602A7-0FCA-42FD-B204-DA6F3F5C1374}" type="presParOf" srcId="{64B2C32E-31E8-492D-AF21-EAAE410326B2}" destId="{1C0101D9-67C0-4D40-8BB1-266ED35D301A}" srcOrd="9" destOrd="0" presId="urn:microsoft.com/office/officeart/2005/8/layout/list1"/>
    <dgm:cxn modelId="{58F0ED0B-538D-42CF-9C2D-592D42E54A0F}" type="presParOf" srcId="{64B2C32E-31E8-492D-AF21-EAAE410326B2}" destId="{B2681058-006E-482D-A943-81A9E568DF72}" srcOrd="10" destOrd="0" presId="urn:microsoft.com/office/officeart/2005/8/layout/list1"/>
    <dgm:cxn modelId="{95B53949-581B-43D3-95E0-5ECF38630281}" type="presParOf" srcId="{64B2C32E-31E8-492D-AF21-EAAE410326B2}" destId="{6D4DE7F5-9BE0-4A2D-B964-F5B4982BCBFF}" srcOrd="11" destOrd="0" presId="urn:microsoft.com/office/officeart/2005/8/layout/list1"/>
    <dgm:cxn modelId="{C7D1871D-521D-4C50-9AEB-A739487E13C6}" type="presParOf" srcId="{64B2C32E-31E8-492D-AF21-EAAE410326B2}" destId="{7458E1DA-BF1D-412D-A2FF-00346B6622A7}" srcOrd="12" destOrd="0" presId="urn:microsoft.com/office/officeart/2005/8/layout/list1"/>
    <dgm:cxn modelId="{4D2DCF38-483B-4D4C-8E8D-EDD0543F262E}" type="presParOf" srcId="{7458E1DA-BF1D-412D-A2FF-00346B6622A7}" destId="{661353C8-86BE-4CD8-8BB8-5B7F22D1B065}" srcOrd="0" destOrd="0" presId="urn:microsoft.com/office/officeart/2005/8/layout/list1"/>
    <dgm:cxn modelId="{76867B12-C607-485B-B400-C4A60C46F520}" type="presParOf" srcId="{7458E1DA-BF1D-412D-A2FF-00346B6622A7}" destId="{55522046-88B4-403E-833E-791368CE8401}" srcOrd="1" destOrd="0" presId="urn:microsoft.com/office/officeart/2005/8/layout/list1"/>
    <dgm:cxn modelId="{6A65AE46-52D9-4140-8DC3-168043C210C3}" type="presParOf" srcId="{64B2C32E-31E8-492D-AF21-EAAE410326B2}" destId="{15F68189-6BAE-46DB-8061-5206266A69EA}" srcOrd="13" destOrd="0" presId="urn:microsoft.com/office/officeart/2005/8/layout/list1"/>
    <dgm:cxn modelId="{A3A00065-757F-4028-8899-92461E67872C}" type="presParOf" srcId="{64B2C32E-31E8-492D-AF21-EAAE410326B2}" destId="{CE8B9115-1264-475B-BBE2-88BBC756397D}" srcOrd="14" destOrd="0" presId="urn:microsoft.com/office/officeart/2005/8/layout/list1"/>
    <dgm:cxn modelId="{3A4FC241-D465-402E-884C-31BFBF1BDDD9}" type="presParOf" srcId="{64B2C32E-31E8-492D-AF21-EAAE410326B2}" destId="{576C4A70-1709-4C5F-A408-B3BA224ACAC0}" srcOrd="15" destOrd="0" presId="urn:microsoft.com/office/officeart/2005/8/layout/list1"/>
    <dgm:cxn modelId="{1069B1B7-E117-4B93-8F7B-39FAE47F60C6}" type="presParOf" srcId="{64B2C32E-31E8-492D-AF21-EAAE410326B2}" destId="{7A9B5C8A-A2CA-4BD5-9DA8-FA096A3CD6A7}" srcOrd="16" destOrd="0" presId="urn:microsoft.com/office/officeart/2005/8/layout/list1"/>
    <dgm:cxn modelId="{BE18045D-5C28-417A-B533-30B8BA659FE3}" type="presParOf" srcId="{7A9B5C8A-A2CA-4BD5-9DA8-FA096A3CD6A7}" destId="{1B29CE99-8D7F-487E-BA04-2E6A02253E50}" srcOrd="0" destOrd="0" presId="urn:microsoft.com/office/officeart/2005/8/layout/list1"/>
    <dgm:cxn modelId="{A9A42889-292A-40F7-BE10-C01237BAB03E}" type="presParOf" srcId="{7A9B5C8A-A2CA-4BD5-9DA8-FA096A3CD6A7}" destId="{292850F0-6351-409C-9F14-0ACD4070880F}" srcOrd="1" destOrd="0" presId="urn:microsoft.com/office/officeart/2005/8/layout/list1"/>
    <dgm:cxn modelId="{CEDAD099-73EE-4870-BCF7-D3FBBA0508A1}" type="presParOf" srcId="{64B2C32E-31E8-492D-AF21-EAAE410326B2}" destId="{CCECF982-AA9A-438A-8C0E-FF5DBE5149B8}" srcOrd="17" destOrd="0" presId="urn:microsoft.com/office/officeart/2005/8/layout/list1"/>
    <dgm:cxn modelId="{8CB77A0F-0A7F-4C54-A274-53422BF31F2B}" type="presParOf" srcId="{64B2C32E-31E8-492D-AF21-EAAE410326B2}" destId="{2CF99F47-9067-4BFF-A1BB-D668AE251548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3C9E1BA-D420-4C74-9669-6A6E73E46491}" type="doc">
      <dgm:prSet loTypeId="urn:microsoft.com/office/officeart/2005/8/layout/hierarchy1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C47603DB-4B31-4DF1-BB4E-17AD54496B0B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КНД</a:t>
          </a:r>
        </a:p>
      </dgm:t>
    </dgm:pt>
    <dgm:pt modelId="{63718D3D-F0C2-4A5B-96E8-EE00CD7C4701}" type="parTrans" cxnId="{EC28ABE1-4A77-4159-8785-97D886AEBB14}">
      <dgm:prSet/>
      <dgm:spPr/>
      <dgm:t>
        <a:bodyPr/>
        <a:lstStyle/>
        <a:p>
          <a:endParaRPr lang="ru-RU"/>
        </a:p>
      </dgm:t>
    </dgm:pt>
    <dgm:pt modelId="{F11BCB1A-95D6-41D2-AB43-0BAC1CFF5557}" type="sibTrans" cxnId="{EC28ABE1-4A77-4159-8785-97D886AEBB14}">
      <dgm:prSet/>
      <dgm:spPr/>
      <dgm:t>
        <a:bodyPr/>
        <a:lstStyle/>
        <a:p>
          <a:endParaRPr lang="ru-RU"/>
        </a:p>
      </dgm:t>
    </dgm:pt>
    <dgm:pt modelId="{41F3CAF1-6722-4C2A-B408-9D2401F15889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1800" b="1" dirty="0"/>
            <a:t>Образовательные организации</a:t>
          </a:r>
        </a:p>
        <a:p>
          <a:r>
            <a:rPr lang="ru-RU" sz="1800" b="1" dirty="0"/>
            <a:t>(Рособрнадзор) </a:t>
          </a:r>
        </a:p>
      </dgm:t>
    </dgm:pt>
    <dgm:pt modelId="{14FEBDFA-8A89-4995-A1AB-B993B6263E01}" type="parTrans" cxnId="{DACC3A52-456C-4860-85C8-1B7F6FA7B23E}">
      <dgm:prSet/>
      <dgm:spPr/>
      <dgm:t>
        <a:bodyPr/>
        <a:lstStyle/>
        <a:p>
          <a:endParaRPr lang="ru-RU"/>
        </a:p>
      </dgm:t>
    </dgm:pt>
    <dgm:pt modelId="{0DDED74D-B070-4756-818E-6195BAAC5C6B}" type="sibTrans" cxnId="{DACC3A52-456C-4860-85C8-1B7F6FA7B23E}">
      <dgm:prSet/>
      <dgm:spPr/>
      <dgm:t>
        <a:bodyPr/>
        <a:lstStyle/>
        <a:p>
          <a:endParaRPr lang="ru-RU"/>
        </a:p>
      </dgm:t>
    </dgm:pt>
    <dgm:pt modelId="{88CE0B82-FA1B-4420-BAAA-9F88A922EB1C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1800" dirty="0"/>
            <a:t>Основания проверки </a:t>
          </a:r>
        </a:p>
      </dgm:t>
    </dgm:pt>
    <dgm:pt modelId="{67000E32-27B0-459D-ADCF-170A41D5DF49}" type="parTrans" cxnId="{7C9762EE-E509-429B-A030-C1B5BB674214}">
      <dgm:prSet/>
      <dgm:spPr/>
      <dgm:t>
        <a:bodyPr/>
        <a:lstStyle/>
        <a:p>
          <a:endParaRPr lang="ru-RU"/>
        </a:p>
      </dgm:t>
    </dgm:pt>
    <dgm:pt modelId="{8D0E3FF6-1A11-4047-8F50-30CF86290581}" type="sibTrans" cxnId="{7C9762EE-E509-429B-A030-C1B5BB674214}">
      <dgm:prSet/>
      <dgm:spPr/>
      <dgm:t>
        <a:bodyPr/>
        <a:lstStyle/>
        <a:p>
          <a:endParaRPr lang="ru-RU"/>
        </a:p>
      </dgm:t>
    </dgm:pt>
    <dgm:pt modelId="{68EB56D6-F5F0-49D0-BE73-D6BD0D71D4FF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1800" dirty="0"/>
            <a:t>Предмет проверки </a:t>
          </a:r>
        </a:p>
      </dgm:t>
    </dgm:pt>
    <dgm:pt modelId="{40E05000-2002-454D-893F-45AEB5F5F318}" type="parTrans" cxnId="{7B8B6DED-4379-4E9C-AD28-E0BC0B8D2CBF}">
      <dgm:prSet/>
      <dgm:spPr/>
      <dgm:t>
        <a:bodyPr/>
        <a:lstStyle/>
        <a:p>
          <a:endParaRPr lang="ru-RU"/>
        </a:p>
      </dgm:t>
    </dgm:pt>
    <dgm:pt modelId="{9AD5F1E9-4698-471D-A6A0-3406303CB204}" type="sibTrans" cxnId="{7B8B6DED-4379-4E9C-AD28-E0BC0B8D2CBF}">
      <dgm:prSet/>
      <dgm:spPr/>
      <dgm:t>
        <a:bodyPr/>
        <a:lstStyle/>
        <a:p>
          <a:endParaRPr lang="ru-RU"/>
        </a:p>
      </dgm:t>
    </dgm:pt>
    <dgm:pt modelId="{827D62E4-0963-4986-A5DA-E5521FA01ABB}">
      <dgm:prSet phldrT="[Текст]" custT="1"/>
      <dgm:spPr>
        <a:solidFill>
          <a:srgbClr val="565087">
            <a:alpha val="90000"/>
          </a:srgbClr>
        </a:solidFill>
      </dgm:spPr>
      <dgm:t>
        <a:bodyPr/>
        <a:lstStyle/>
        <a:p>
          <a:r>
            <a:rPr lang="ru-RU" sz="1800" b="1" dirty="0">
              <a:solidFill>
                <a:schemeClr val="bg1"/>
              </a:solidFill>
            </a:rPr>
            <a:t>Органы исполнительной власти </a:t>
          </a:r>
        </a:p>
        <a:p>
          <a:r>
            <a:rPr lang="ru-RU" sz="1800" b="1" dirty="0">
              <a:solidFill>
                <a:schemeClr val="bg1"/>
              </a:solidFill>
            </a:rPr>
            <a:t>(Прокуратура)</a:t>
          </a:r>
        </a:p>
      </dgm:t>
    </dgm:pt>
    <dgm:pt modelId="{3F0DDEB2-E4DE-43D9-92BE-FE5C50A297DF}" type="parTrans" cxnId="{C5AD3E35-FF34-4C4A-A668-619857B16124}">
      <dgm:prSet/>
      <dgm:spPr/>
      <dgm:t>
        <a:bodyPr/>
        <a:lstStyle/>
        <a:p>
          <a:endParaRPr lang="ru-RU"/>
        </a:p>
      </dgm:t>
    </dgm:pt>
    <dgm:pt modelId="{89DE9CC6-65D5-4A0E-9A49-91D5A4361A47}" type="sibTrans" cxnId="{C5AD3E35-FF34-4C4A-A668-619857B16124}">
      <dgm:prSet/>
      <dgm:spPr/>
      <dgm:t>
        <a:bodyPr/>
        <a:lstStyle/>
        <a:p>
          <a:endParaRPr lang="ru-RU"/>
        </a:p>
      </dgm:t>
    </dgm:pt>
    <dgm:pt modelId="{B6DADBBF-9055-4960-8E20-579CE8DAB9F8}">
      <dgm:prSet phldrT="[Текст]" custT="1"/>
      <dgm:spPr>
        <a:solidFill>
          <a:srgbClr val="565087">
            <a:alpha val="90000"/>
          </a:srgbClr>
        </a:solidFill>
      </dgm:spPr>
      <dgm:t>
        <a:bodyPr/>
        <a:lstStyle/>
        <a:p>
          <a:r>
            <a:rPr lang="ru-RU" sz="1800" dirty="0">
              <a:solidFill>
                <a:schemeClr val="bg1"/>
              </a:solidFill>
            </a:rPr>
            <a:t>Основания проверки </a:t>
          </a:r>
        </a:p>
      </dgm:t>
    </dgm:pt>
    <dgm:pt modelId="{298A3F65-138A-49B3-AC77-7609FAB3AD0E}" type="parTrans" cxnId="{F74FB45E-0EDF-4F03-9DD7-36A0A66DCF96}">
      <dgm:prSet/>
      <dgm:spPr/>
      <dgm:t>
        <a:bodyPr/>
        <a:lstStyle/>
        <a:p>
          <a:endParaRPr lang="ru-RU"/>
        </a:p>
      </dgm:t>
    </dgm:pt>
    <dgm:pt modelId="{ACD15615-169B-48C5-82A8-6DA90306A43C}" type="sibTrans" cxnId="{F74FB45E-0EDF-4F03-9DD7-36A0A66DCF96}">
      <dgm:prSet/>
      <dgm:spPr/>
      <dgm:t>
        <a:bodyPr/>
        <a:lstStyle/>
        <a:p>
          <a:endParaRPr lang="ru-RU"/>
        </a:p>
      </dgm:t>
    </dgm:pt>
    <dgm:pt modelId="{977A00A2-01C9-4ADD-8E80-CDC24D05C0AE}">
      <dgm:prSet custT="1"/>
      <dgm:spPr>
        <a:solidFill>
          <a:srgbClr val="565087">
            <a:alpha val="90000"/>
          </a:srgbClr>
        </a:solidFill>
      </dgm:spPr>
      <dgm:t>
        <a:bodyPr/>
        <a:lstStyle/>
        <a:p>
          <a:r>
            <a:rPr lang="ru-RU" sz="1800" dirty="0">
              <a:solidFill>
                <a:schemeClr val="bg1"/>
              </a:solidFill>
            </a:rPr>
            <a:t>Предмет проверки </a:t>
          </a:r>
        </a:p>
      </dgm:t>
    </dgm:pt>
    <dgm:pt modelId="{3B5329C4-FB07-44C0-B330-6F42D5D4C2BA}" type="parTrans" cxnId="{C56A9608-6F3F-4806-94C4-08C053A1045B}">
      <dgm:prSet/>
      <dgm:spPr/>
      <dgm:t>
        <a:bodyPr/>
        <a:lstStyle/>
        <a:p>
          <a:endParaRPr lang="ru-RU"/>
        </a:p>
      </dgm:t>
    </dgm:pt>
    <dgm:pt modelId="{00C83ED8-A94C-49E1-8B15-DAA60F2C6A0D}" type="sibTrans" cxnId="{C56A9608-6F3F-4806-94C4-08C053A1045B}">
      <dgm:prSet/>
      <dgm:spPr/>
      <dgm:t>
        <a:bodyPr/>
        <a:lstStyle/>
        <a:p>
          <a:endParaRPr lang="ru-RU"/>
        </a:p>
      </dgm:t>
    </dgm:pt>
    <dgm:pt modelId="{ABF6C51A-779A-4318-B23B-D324EB0F80FD}">
      <dgm:prSet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dirty="0"/>
            <a:t>273 ФЗ</a:t>
          </a:r>
        </a:p>
        <a:p>
          <a:r>
            <a:rPr lang="ru-RU" dirty="0"/>
            <a:t>Федеральные требования к документационной нагрузке и предоставлении информации  </a:t>
          </a:r>
        </a:p>
        <a:p>
          <a:r>
            <a:rPr lang="ru-RU" dirty="0"/>
            <a:t>Профстандарт </a:t>
          </a:r>
        </a:p>
      </dgm:t>
    </dgm:pt>
    <dgm:pt modelId="{99DEA949-1DB4-4BD5-9F0C-16D563DC73D0}" type="parTrans" cxnId="{5DC44D3F-BAFF-4D06-8557-B40090234829}">
      <dgm:prSet/>
      <dgm:spPr/>
      <dgm:t>
        <a:bodyPr/>
        <a:lstStyle/>
        <a:p>
          <a:endParaRPr lang="ru-RU"/>
        </a:p>
      </dgm:t>
    </dgm:pt>
    <dgm:pt modelId="{C19A5FD2-EFF9-4256-A790-396E9E2B284D}" type="sibTrans" cxnId="{5DC44D3F-BAFF-4D06-8557-B40090234829}">
      <dgm:prSet/>
      <dgm:spPr/>
      <dgm:t>
        <a:bodyPr/>
        <a:lstStyle/>
        <a:p>
          <a:endParaRPr lang="ru-RU"/>
        </a:p>
      </dgm:t>
    </dgm:pt>
    <dgm:pt modelId="{AD5095F0-EBC9-44D6-AD91-BBE16D199310}">
      <dgm:prSet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dirty="0"/>
            <a:t>Подготавливаемая документация </a:t>
          </a:r>
        </a:p>
        <a:p>
          <a:r>
            <a:rPr lang="ru-RU" dirty="0"/>
            <a:t>Должностные инструкции </a:t>
          </a:r>
        </a:p>
        <a:p>
          <a:r>
            <a:rPr lang="ru-RU" dirty="0"/>
            <a:t>Локальные акты организации </a:t>
          </a:r>
        </a:p>
      </dgm:t>
    </dgm:pt>
    <dgm:pt modelId="{4A518997-49CF-4B39-9A86-83484F08280F}" type="parTrans" cxnId="{54AB46B7-CC80-4B54-8937-21FAAFD7FB69}">
      <dgm:prSet/>
      <dgm:spPr/>
      <dgm:t>
        <a:bodyPr/>
        <a:lstStyle/>
        <a:p>
          <a:endParaRPr lang="ru-RU"/>
        </a:p>
      </dgm:t>
    </dgm:pt>
    <dgm:pt modelId="{50282176-0FAD-4BDC-8BB2-CA07C478CD73}" type="sibTrans" cxnId="{54AB46B7-CC80-4B54-8937-21FAAFD7FB69}">
      <dgm:prSet/>
      <dgm:spPr/>
      <dgm:t>
        <a:bodyPr/>
        <a:lstStyle/>
        <a:p>
          <a:endParaRPr lang="ru-RU"/>
        </a:p>
      </dgm:t>
    </dgm:pt>
    <dgm:pt modelId="{2A0DD6F1-C4DB-4466-94E8-3B3E4465F053}">
      <dgm:prSet/>
      <dgm:spPr>
        <a:solidFill>
          <a:srgbClr val="565087">
            <a:alpha val="90000"/>
          </a:srgbClr>
        </a:solidFill>
      </dgm:spPr>
      <dgm:t>
        <a:bodyPr/>
        <a:lstStyle/>
        <a:p>
          <a:r>
            <a:rPr lang="ru-RU" dirty="0">
              <a:solidFill>
                <a:schemeClr val="bg1"/>
              </a:solidFill>
            </a:rPr>
            <a:t>273 ФЗ</a:t>
          </a:r>
        </a:p>
        <a:p>
          <a:r>
            <a:rPr lang="ru-RU" dirty="0">
              <a:solidFill>
                <a:schemeClr val="bg1"/>
              </a:solidFill>
            </a:rPr>
            <a:t>Федеральные требования к документационной нагрузке и предоставлении информации  </a:t>
          </a:r>
        </a:p>
        <a:p>
          <a:endParaRPr lang="ru-RU" dirty="0"/>
        </a:p>
      </dgm:t>
    </dgm:pt>
    <dgm:pt modelId="{26B5C158-1B40-4881-8C5B-A3EC6EA169DA}" type="parTrans" cxnId="{46389525-2185-4E4B-8AF7-30EC8F57D067}">
      <dgm:prSet/>
      <dgm:spPr/>
      <dgm:t>
        <a:bodyPr/>
        <a:lstStyle/>
        <a:p>
          <a:endParaRPr lang="ru-RU"/>
        </a:p>
      </dgm:t>
    </dgm:pt>
    <dgm:pt modelId="{5B9DBE72-AD31-4A63-8F57-DB94D646AF2D}" type="sibTrans" cxnId="{46389525-2185-4E4B-8AF7-30EC8F57D067}">
      <dgm:prSet/>
      <dgm:spPr/>
      <dgm:t>
        <a:bodyPr/>
        <a:lstStyle/>
        <a:p>
          <a:endParaRPr lang="ru-RU"/>
        </a:p>
      </dgm:t>
    </dgm:pt>
    <dgm:pt modelId="{721F7D6D-F748-4B4C-ACAD-6C2923AA6EE5}">
      <dgm:prSet/>
      <dgm:spPr>
        <a:solidFill>
          <a:srgbClr val="565087">
            <a:alpha val="90000"/>
          </a:srgbClr>
        </a:solidFill>
      </dgm:spPr>
      <dgm:t>
        <a:bodyPr/>
        <a:lstStyle/>
        <a:p>
          <a:r>
            <a:rPr lang="ru-RU" dirty="0">
              <a:solidFill>
                <a:schemeClr val="bg1"/>
              </a:solidFill>
            </a:rPr>
            <a:t>Исходящие запросы </a:t>
          </a:r>
        </a:p>
        <a:p>
          <a:r>
            <a:rPr lang="ru-RU" dirty="0">
              <a:solidFill>
                <a:schemeClr val="bg1"/>
              </a:solidFill>
            </a:rPr>
            <a:t>Информационные системы </a:t>
          </a:r>
        </a:p>
        <a:p>
          <a:r>
            <a:rPr lang="ru-RU" dirty="0">
              <a:solidFill>
                <a:schemeClr val="bg1"/>
              </a:solidFill>
            </a:rPr>
            <a:t>Мониторинги </a:t>
          </a:r>
        </a:p>
        <a:p>
          <a:r>
            <a:rPr lang="ru-RU" dirty="0">
              <a:solidFill>
                <a:schemeClr val="bg1"/>
              </a:solidFill>
            </a:rPr>
            <a:t>Федеральные требования и рекомендация к осуществлению образовательной деятельности </a:t>
          </a:r>
        </a:p>
        <a:p>
          <a:endParaRPr lang="ru-RU" dirty="0"/>
        </a:p>
      </dgm:t>
    </dgm:pt>
    <dgm:pt modelId="{3BE5C46B-F63C-409F-B240-5C8EE270F809}" type="parTrans" cxnId="{2B4CB73B-8B4F-443A-B12C-4627ADC4FEDD}">
      <dgm:prSet/>
      <dgm:spPr/>
      <dgm:t>
        <a:bodyPr/>
        <a:lstStyle/>
        <a:p>
          <a:endParaRPr lang="ru-RU"/>
        </a:p>
      </dgm:t>
    </dgm:pt>
    <dgm:pt modelId="{98D664ED-78A2-4597-9088-C3A18500E7D8}" type="sibTrans" cxnId="{2B4CB73B-8B4F-443A-B12C-4627ADC4FEDD}">
      <dgm:prSet/>
      <dgm:spPr/>
      <dgm:t>
        <a:bodyPr/>
        <a:lstStyle/>
        <a:p>
          <a:endParaRPr lang="ru-RU"/>
        </a:p>
      </dgm:t>
    </dgm:pt>
    <dgm:pt modelId="{836101FD-3D2E-4398-A9A3-B904E9868F70}" type="pres">
      <dgm:prSet presAssocID="{43C9E1BA-D420-4C74-9669-6A6E73E46491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33CDB055-00F5-48B4-9557-73981A0E19F3}" type="pres">
      <dgm:prSet presAssocID="{C47603DB-4B31-4DF1-BB4E-17AD54496B0B}" presName="hierRoot1" presStyleCnt="0"/>
      <dgm:spPr/>
    </dgm:pt>
    <dgm:pt modelId="{38D74A0F-130A-4D99-983B-C34E94651A8F}" type="pres">
      <dgm:prSet presAssocID="{C47603DB-4B31-4DF1-BB4E-17AD54496B0B}" presName="composite" presStyleCnt="0"/>
      <dgm:spPr/>
    </dgm:pt>
    <dgm:pt modelId="{4E5F6BBE-60FE-467F-8279-C9A0ECC2529F}" type="pres">
      <dgm:prSet presAssocID="{C47603DB-4B31-4DF1-BB4E-17AD54496B0B}" presName="background" presStyleLbl="node0" presStyleIdx="0" presStyleCnt="1"/>
      <dgm:spPr>
        <a:solidFill>
          <a:srgbClr val="565087"/>
        </a:solidFill>
      </dgm:spPr>
    </dgm:pt>
    <dgm:pt modelId="{94B7CDD0-4D05-4701-AAA4-588193AE41CD}" type="pres">
      <dgm:prSet presAssocID="{C47603DB-4B31-4DF1-BB4E-17AD54496B0B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30EFC3A-A8DF-491C-9A7D-DEE5A084CDF4}" type="pres">
      <dgm:prSet presAssocID="{C47603DB-4B31-4DF1-BB4E-17AD54496B0B}" presName="hierChild2" presStyleCnt="0"/>
      <dgm:spPr/>
    </dgm:pt>
    <dgm:pt modelId="{32B1DCA6-4959-4E2F-BAC0-18AB56955FE4}" type="pres">
      <dgm:prSet presAssocID="{14FEBDFA-8A89-4995-A1AB-B993B6263E01}" presName="Name10" presStyleLbl="parChTrans1D2" presStyleIdx="0" presStyleCnt="2"/>
      <dgm:spPr/>
      <dgm:t>
        <a:bodyPr/>
        <a:lstStyle/>
        <a:p>
          <a:endParaRPr lang="ru-RU"/>
        </a:p>
      </dgm:t>
    </dgm:pt>
    <dgm:pt modelId="{BFA66387-BBE6-4F92-B0CC-AA02B8F7DBC7}" type="pres">
      <dgm:prSet presAssocID="{41F3CAF1-6722-4C2A-B408-9D2401F15889}" presName="hierRoot2" presStyleCnt="0"/>
      <dgm:spPr/>
    </dgm:pt>
    <dgm:pt modelId="{C03D2A29-58E1-4C6F-BB2E-10B7AA61FDC4}" type="pres">
      <dgm:prSet presAssocID="{41F3CAF1-6722-4C2A-B408-9D2401F15889}" presName="composite2" presStyleCnt="0"/>
      <dgm:spPr/>
    </dgm:pt>
    <dgm:pt modelId="{F2A8E741-786A-454C-B550-C58294F79E1B}" type="pres">
      <dgm:prSet presAssocID="{41F3CAF1-6722-4C2A-B408-9D2401F15889}" presName="background2" presStyleLbl="node2" presStyleIdx="0" presStyleCnt="2"/>
      <dgm:spPr>
        <a:solidFill>
          <a:srgbClr val="565087"/>
        </a:solidFill>
      </dgm:spPr>
    </dgm:pt>
    <dgm:pt modelId="{98B54796-FC26-48A8-8AE2-BED90B49B645}" type="pres">
      <dgm:prSet presAssocID="{41F3CAF1-6722-4C2A-B408-9D2401F15889}" presName="text2" presStyleLbl="fgAcc2" presStyleIdx="0" presStyleCnt="2" custScaleX="10477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0E0440E-8E2D-4B5A-B194-4C7146F7F649}" type="pres">
      <dgm:prSet presAssocID="{41F3CAF1-6722-4C2A-B408-9D2401F15889}" presName="hierChild3" presStyleCnt="0"/>
      <dgm:spPr/>
    </dgm:pt>
    <dgm:pt modelId="{9DC8A7B3-0C87-4857-AFAE-00CF877D71D1}" type="pres">
      <dgm:prSet presAssocID="{67000E32-27B0-459D-ADCF-170A41D5DF49}" presName="Name17" presStyleLbl="parChTrans1D3" presStyleIdx="0" presStyleCnt="4"/>
      <dgm:spPr/>
      <dgm:t>
        <a:bodyPr/>
        <a:lstStyle/>
        <a:p>
          <a:endParaRPr lang="ru-RU"/>
        </a:p>
      </dgm:t>
    </dgm:pt>
    <dgm:pt modelId="{D1F1A570-93ED-4CEC-A097-6627FD924EF7}" type="pres">
      <dgm:prSet presAssocID="{88CE0B82-FA1B-4420-BAAA-9F88A922EB1C}" presName="hierRoot3" presStyleCnt="0"/>
      <dgm:spPr/>
    </dgm:pt>
    <dgm:pt modelId="{0C0A6724-B84F-41E2-9D10-6C5C5F214EB7}" type="pres">
      <dgm:prSet presAssocID="{88CE0B82-FA1B-4420-BAAA-9F88A922EB1C}" presName="composite3" presStyleCnt="0"/>
      <dgm:spPr/>
    </dgm:pt>
    <dgm:pt modelId="{7252842B-8401-4441-9455-9E1836C93C82}" type="pres">
      <dgm:prSet presAssocID="{88CE0B82-FA1B-4420-BAAA-9F88A922EB1C}" presName="background3" presStyleLbl="node3" presStyleIdx="0" presStyleCnt="4"/>
      <dgm:spPr>
        <a:solidFill>
          <a:srgbClr val="565087"/>
        </a:solidFill>
      </dgm:spPr>
    </dgm:pt>
    <dgm:pt modelId="{51D6E1C6-96E3-4B97-8476-21B3CA78BB92}" type="pres">
      <dgm:prSet presAssocID="{88CE0B82-FA1B-4420-BAAA-9F88A922EB1C}" presName="text3" presStyleLbl="fgAcc3" presStyleIdx="0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A9A0C91-F238-4404-8554-647C7E202907}" type="pres">
      <dgm:prSet presAssocID="{88CE0B82-FA1B-4420-BAAA-9F88A922EB1C}" presName="hierChild4" presStyleCnt="0"/>
      <dgm:spPr/>
    </dgm:pt>
    <dgm:pt modelId="{1E387D0B-B80F-4475-8185-B5865362B416}" type="pres">
      <dgm:prSet presAssocID="{99DEA949-1DB4-4BD5-9F0C-16D563DC73D0}" presName="Name23" presStyleLbl="parChTrans1D4" presStyleIdx="0" presStyleCnt="4"/>
      <dgm:spPr/>
      <dgm:t>
        <a:bodyPr/>
        <a:lstStyle/>
        <a:p>
          <a:endParaRPr lang="ru-RU"/>
        </a:p>
      </dgm:t>
    </dgm:pt>
    <dgm:pt modelId="{8B3EBD9E-F4C6-4F53-97AB-1A6F94C3E6F3}" type="pres">
      <dgm:prSet presAssocID="{ABF6C51A-779A-4318-B23B-D324EB0F80FD}" presName="hierRoot4" presStyleCnt="0"/>
      <dgm:spPr/>
    </dgm:pt>
    <dgm:pt modelId="{823DEDC1-21DC-40D8-80BC-DAA4ABDE40A5}" type="pres">
      <dgm:prSet presAssocID="{ABF6C51A-779A-4318-B23B-D324EB0F80FD}" presName="composite4" presStyleCnt="0"/>
      <dgm:spPr/>
    </dgm:pt>
    <dgm:pt modelId="{CE2D016C-F301-4EFD-9E8E-6B4FA5418A50}" type="pres">
      <dgm:prSet presAssocID="{ABF6C51A-779A-4318-B23B-D324EB0F80FD}" presName="background4" presStyleLbl="node4" presStyleIdx="0" presStyleCnt="4"/>
      <dgm:spPr>
        <a:solidFill>
          <a:srgbClr val="565087"/>
        </a:solidFill>
      </dgm:spPr>
    </dgm:pt>
    <dgm:pt modelId="{7E93CCB9-CBEA-42A2-B9F6-893C4698C641}" type="pres">
      <dgm:prSet presAssocID="{ABF6C51A-779A-4318-B23B-D324EB0F80FD}" presName="text4" presStyleLbl="fgAcc4" presStyleIdx="0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7B4F550-82F7-4AEE-A82B-4E0672AEFCB7}" type="pres">
      <dgm:prSet presAssocID="{ABF6C51A-779A-4318-B23B-D324EB0F80FD}" presName="hierChild5" presStyleCnt="0"/>
      <dgm:spPr/>
    </dgm:pt>
    <dgm:pt modelId="{BFD666D7-B900-4083-A123-AA13410EFDFE}" type="pres">
      <dgm:prSet presAssocID="{40E05000-2002-454D-893F-45AEB5F5F318}" presName="Name17" presStyleLbl="parChTrans1D3" presStyleIdx="1" presStyleCnt="4"/>
      <dgm:spPr/>
      <dgm:t>
        <a:bodyPr/>
        <a:lstStyle/>
        <a:p>
          <a:endParaRPr lang="ru-RU"/>
        </a:p>
      </dgm:t>
    </dgm:pt>
    <dgm:pt modelId="{6C00E40C-3091-478F-9E87-1616D5CFBA5D}" type="pres">
      <dgm:prSet presAssocID="{68EB56D6-F5F0-49D0-BE73-D6BD0D71D4FF}" presName="hierRoot3" presStyleCnt="0"/>
      <dgm:spPr/>
    </dgm:pt>
    <dgm:pt modelId="{4738A09C-E9C7-4CA8-A011-D9B8790CB645}" type="pres">
      <dgm:prSet presAssocID="{68EB56D6-F5F0-49D0-BE73-D6BD0D71D4FF}" presName="composite3" presStyleCnt="0"/>
      <dgm:spPr/>
    </dgm:pt>
    <dgm:pt modelId="{B36ADDD6-2F2F-403F-A4A7-4986B4F3E070}" type="pres">
      <dgm:prSet presAssocID="{68EB56D6-F5F0-49D0-BE73-D6BD0D71D4FF}" presName="background3" presStyleLbl="node3" presStyleIdx="1" presStyleCnt="4"/>
      <dgm:spPr>
        <a:solidFill>
          <a:srgbClr val="565087"/>
        </a:solidFill>
      </dgm:spPr>
    </dgm:pt>
    <dgm:pt modelId="{E4339B3E-3838-41CF-8223-A465A3875B1E}" type="pres">
      <dgm:prSet presAssocID="{68EB56D6-F5F0-49D0-BE73-D6BD0D71D4FF}" presName="text3" presStyleLbl="fgAcc3" presStyleIdx="1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9FDDC37-EF87-4A50-8CEA-64EE0C484E2D}" type="pres">
      <dgm:prSet presAssocID="{68EB56D6-F5F0-49D0-BE73-D6BD0D71D4FF}" presName="hierChild4" presStyleCnt="0"/>
      <dgm:spPr/>
    </dgm:pt>
    <dgm:pt modelId="{028B4D52-3A2A-4FAE-9949-0CFEB34074C7}" type="pres">
      <dgm:prSet presAssocID="{4A518997-49CF-4B39-9A86-83484F08280F}" presName="Name23" presStyleLbl="parChTrans1D4" presStyleIdx="1" presStyleCnt="4"/>
      <dgm:spPr/>
      <dgm:t>
        <a:bodyPr/>
        <a:lstStyle/>
        <a:p>
          <a:endParaRPr lang="ru-RU"/>
        </a:p>
      </dgm:t>
    </dgm:pt>
    <dgm:pt modelId="{7EA6BAD2-43EA-47DC-A10F-5C0C4E70377C}" type="pres">
      <dgm:prSet presAssocID="{AD5095F0-EBC9-44D6-AD91-BBE16D199310}" presName="hierRoot4" presStyleCnt="0"/>
      <dgm:spPr/>
    </dgm:pt>
    <dgm:pt modelId="{3CBB7C4B-2384-4101-BD91-EC4595AF3786}" type="pres">
      <dgm:prSet presAssocID="{AD5095F0-EBC9-44D6-AD91-BBE16D199310}" presName="composite4" presStyleCnt="0"/>
      <dgm:spPr/>
    </dgm:pt>
    <dgm:pt modelId="{8BC1D1BF-EB2B-4B05-8780-347EF1194ED4}" type="pres">
      <dgm:prSet presAssocID="{AD5095F0-EBC9-44D6-AD91-BBE16D199310}" presName="background4" presStyleLbl="node4" presStyleIdx="1" presStyleCnt="4"/>
      <dgm:spPr>
        <a:solidFill>
          <a:srgbClr val="565087"/>
        </a:solidFill>
      </dgm:spPr>
    </dgm:pt>
    <dgm:pt modelId="{05ECEB01-001F-48D2-987E-77C73DCBB566}" type="pres">
      <dgm:prSet presAssocID="{AD5095F0-EBC9-44D6-AD91-BBE16D199310}" presName="text4" presStyleLbl="fgAcc4" presStyleIdx="1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553D5D5-7ED0-4D39-9DCA-2A220E774727}" type="pres">
      <dgm:prSet presAssocID="{AD5095F0-EBC9-44D6-AD91-BBE16D199310}" presName="hierChild5" presStyleCnt="0"/>
      <dgm:spPr/>
    </dgm:pt>
    <dgm:pt modelId="{6F7AE0AA-2741-4D56-8E62-636E70776692}" type="pres">
      <dgm:prSet presAssocID="{3F0DDEB2-E4DE-43D9-92BE-FE5C50A297DF}" presName="Name10" presStyleLbl="parChTrans1D2" presStyleIdx="1" presStyleCnt="2"/>
      <dgm:spPr/>
      <dgm:t>
        <a:bodyPr/>
        <a:lstStyle/>
        <a:p>
          <a:endParaRPr lang="ru-RU"/>
        </a:p>
      </dgm:t>
    </dgm:pt>
    <dgm:pt modelId="{DC299479-2E4B-4F8E-BDDC-74114C7B9534}" type="pres">
      <dgm:prSet presAssocID="{827D62E4-0963-4986-A5DA-E5521FA01ABB}" presName="hierRoot2" presStyleCnt="0"/>
      <dgm:spPr/>
    </dgm:pt>
    <dgm:pt modelId="{AE13F9FA-CE45-4D5D-AB23-6A86179E5882}" type="pres">
      <dgm:prSet presAssocID="{827D62E4-0963-4986-A5DA-E5521FA01ABB}" presName="composite2" presStyleCnt="0"/>
      <dgm:spPr/>
    </dgm:pt>
    <dgm:pt modelId="{1A3FCCDE-0A5B-44F6-BF5A-D16505D51FFB}" type="pres">
      <dgm:prSet presAssocID="{827D62E4-0963-4986-A5DA-E5521FA01ABB}" presName="background2" presStyleLbl="node2" presStyleIdx="1" presStyleCnt="2"/>
      <dgm:spPr>
        <a:solidFill>
          <a:srgbClr val="CDCDEB"/>
        </a:solidFill>
      </dgm:spPr>
    </dgm:pt>
    <dgm:pt modelId="{679B06A6-DDC3-4C13-9332-5A852F854E1A}" type="pres">
      <dgm:prSet presAssocID="{827D62E4-0963-4986-A5DA-E5521FA01ABB}" presName="text2" presStyleLbl="fgAcc2" presStyleIdx="1" presStyleCnt="2" custScaleX="10908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821C6BE-A0FE-4392-8DE2-EB9219DCFA5A}" type="pres">
      <dgm:prSet presAssocID="{827D62E4-0963-4986-A5DA-E5521FA01ABB}" presName="hierChild3" presStyleCnt="0"/>
      <dgm:spPr/>
    </dgm:pt>
    <dgm:pt modelId="{883DD498-5D19-48C9-A16B-884FA808A6BA}" type="pres">
      <dgm:prSet presAssocID="{298A3F65-138A-49B3-AC77-7609FAB3AD0E}" presName="Name17" presStyleLbl="parChTrans1D3" presStyleIdx="2" presStyleCnt="4"/>
      <dgm:spPr/>
      <dgm:t>
        <a:bodyPr/>
        <a:lstStyle/>
        <a:p>
          <a:endParaRPr lang="ru-RU"/>
        </a:p>
      </dgm:t>
    </dgm:pt>
    <dgm:pt modelId="{D13AC2BF-DD77-4B22-A627-680100604A3A}" type="pres">
      <dgm:prSet presAssocID="{B6DADBBF-9055-4960-8E20-579CE8DAB9F8}" presName="hierRoot3" presStyleCnt="0"/>
      <dgm:spPr/>
    </dgm:pt>
    <dgm:pt modelId="{E256FA4E-CB9E-445C-92EE-8D16545C8898}" type="pres">
      <dgm:prSet presAssocID="{B6DADBBF-9055-4960-8E20-579CE8DAB9F8}" presName="composite3" presStyleCnt="0"/>
      <dgm:spPr/>
    </dgm:pt>
    <dgm:pt modelId="{64457035-7603-49D7-B512-D5CC4A7F4DA8}" type="pres">
      <dgm:prSet presAssocID="{B6DADBBF-9055-4960-8E20-579CE8DAB9F8}" presName="background3" presStyleLbl="node3" presStyleIdx="2" presStyleCnt="4"/>
      <dgm:spPr>
        <a:solidFill>
          <a:srgbClr val="CDCDEB"/>
        </a:solidFill>
        <a:ln>
          <a:solidFill>
            <a:srgbClr val="9D9DD7"/>
          </a:solidFill>
        </a:ln>
      </dgm:spPr>
    </dgm:pt>
    <dgm:pt modelId="{C2AF5D0B-756B-4D62-A132-22AAC1FCF2D8}" type="pres">
      <dgm:prSet presAssocID="{B6DADBBF-9055-4960-8E20-579CE8DAB9F8}" presName="text3" presStyleLbl="fgAcc3" presStyleIdx="2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4CA00B3-5F0C-45DD-934D-5C1B730FA8E1}" type="pres">
      <dgm:prSet presAssocID="{B6DADBBF-9055-4960-8E20-579CE8DAB9F8}" presName="hierChild4" presStyleCnt="0"/>
      <dgm:spPr/>
    </dgm:pt>
    <dgm:pt modelId="{94AA146F-734F-4F1D-8B99-0782E9D7324C}" type="pres">
      <dgm:prSet presAssocID="{26B5C158-1B40-4881-8C5B-A3EC6EA169DA}" presName="Name23" presStyleLbl="parChTrans1D4" presStyleIdx="2" presStyleCnt="4"/>
      <dgm:spPr/>
      <dgm:t>
        <a:bodyPr/>
        <a:lstStyle/>
        <a:p>
          <a:endParaRPr lang="ru-RU"/>
        </a:p>
      </dgm:t>
    </dgm:pt>
    <dgm:pt modelId="{50223EA6-7259-47DD-8B6D-5D21FE99EBBA}" type="pres">
      <dgm:prSet presAssocID="{2A0DD6F1-C4DB-4466-94E8-3B3E4465F053}" presName="hierRoot4" presStyleCnt="0"/>
      <dgm:spPr/>
    </dgm:pt>
    <dgm:pt modelId="{795A41CE-CB2A-4105-A2DE-CBC8DB237FE8}" type="pres">
      <dgm:prSet presAssocID="{2A0DD6F1-C4DB-4466-94E8-3B3E4465F053}" presName="composite4" presStyleCnt="0"/>
      <dgm:spPr/>
    </dgm:pt>
    <dgm:pt modelId="{A193D97B-8884-4EF5-B522-1F8ABD432A2F}" type="pres">
      <dgm:prSet presAssocID="{2A0DD6F1-C4DB-4466-94E8-3B3E4465F053}" presName="background4" presStyleLbl="node4" presStyleIdx="2" presStyleCnt="4"/>
      <dgm:spPr>
        <a:solidFill>
          <a:srgbClr val="CDCDEB"/>
        </a:solidFill>
      </dgm:spPr>
    </dgm:pt>
    <dgm:pt modelId="{CAA9DD50-CC53-46F9-B478-9DC5E91884A9}" type="pres">
      <dgm:prSet presAssocID="{2A0DD6F1-C4DB-4466-94E8-3B3E4465F053}" presName="text4" presStyleLbl="fgAcc4" presStyleIdx="2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D5F6B4C-F062-4915-8F9D-1A5927AF18CF}" type="pres">
      <dgm:prSet presAssocID="{2A0DD6F1-C4DB-4466-94E8-3B3E4465F053}" presName="hierChild5" presStyleCnt="0"/>
      <dgm:spPr/>
    </dgm:pt>
    <dgm:pt modelId="{A6D08E6B-5BF0-48FD-B2CC-350D05273797}" type="pres">
      <dgm:prSet presAssocID="{3B5329C4-FB07-44C0-B330-6F42D5D4C2BA}" presName="Name17" presStyleLbl="parChTrans1D3" presStyleIdx="3" presStyleCnt="4"/>
      <dgm:spPr/>
      <dgm:t>
        <a:bodyPr/>
        <a:lstStyle/>
        <a:p>
          <a:endParaRPr lang="ru-RU"/>
        </a:p>
      </dgm:t>
    </dgm:pt>
    <dgm:pt modelId="{1049B57A-6861-4BB4-B5AA-BD575CFEC990}" type="pres">
      <dgm:prSet presAssocID="{977A00A2-01C9-4ADD-8E80-CDC24D05C0AE}" presName="hierRoot3" presStyleCnt="0"/>
      <dgm:spPr/>
    </dgm:pt>
    <dgm:pt modelId="{EA19F082-63E0-433A-B1FF-8D526A01BA21}" type="pres">
      <dgm:prSet presAssocID="{977A00A2-01C9-4ADD-8E80-CDC24D05C0AE}" presName="composite3" presStyleCnt="0"/>
      <dgm:spPr/>
    </dgm:pt>
    <dgm:pt modelId="{4D5670E1-582B-46FB-A0D0-3C3CD332677C}" type="pres">
      <dgm:prSet presAssocID="{977A00A2-01C9-4ADD-8E80-CDC24D05C0AE}" presName="background3" presStyleLbl="node3" presStyleIdx="3" presStyleCnt="4"/>
      <dgm:spPr>
        <a:solidFill>
          <a:srgbClr val="CDCDEB"/>
        </a:solidFill>
      </dgm:spPr>
    </dgm:pt>
    <dgm:pt modelId="{B46A1DD7-1B0E-408D-81B7-BF6F50B64F7E}" type="pres">
      <dgm:prSet presAssocID="{977A00A2-01C9-4ADD-8E80-CDC24D05C0AE}" presName="text3" presStyleLbl="fgAcc3" presStyleIdx="3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5BAB38B-CD53-4452-9B33-A27FC8A64FFF}" type="pres">
      <dgm:prSet presAssocID="{977A00A2-01C9-4ADD-8E80-CDC24D05C0AE}" presName="hierChild4" presStyleCnt="0"/>
      <dgm:spPr/>
    </dgm:pt>
    <dgm:pt modelId="{23C0D91E-2927-43CF-8F81-3F3EB496D6D7}" type="pres">
      <dgm:prSet presAssocID="{3BE5C46B-F63C-409F-B240-5C8EE270F809}" presName="Name23" presStyleLbl="parChTrans1D4" presStyleIdx="3" presStyleCnt="4"/>
      <dgm:spPr/>
      <dgm:t>
        <a:bodyPr/>
        <a:lstStyle/>
        <a:p>
          <a:endParaRPr lang="ru-RU"/>
        </a:p>
      </dgm:t>
    </dgm:pt>
    <dgm:pt modelId="{68C631DD-5F08-4976-9B8A-FE54DDD857B2}" type="pres">
      <dgm:prSet presAssocID="{721F7D6D-F748-4B4C-ACAD-6C2923AA6EE5}" presName="hierRoot4" presStyleCnt="0"/>
      <dgm:spPr/>
    </dgm:pt>
    <dgm:pt modelId="{87C037A6-C714-4E2E-BF20-E03BD1F709B3}" type="pres">
      <dgm:prSet presAssocID="{721F7D6D-F748-4B4C-ACAD-6C2923AA6EE5}" presName="composite4" presStyleCnt="0"/>
      <dgm:spPr/>
    </dgm:pt>
    <dgm:pt modelId="{E9253DBD-E789-4095-AF77-A96EC3DFF9F1}" type="pres">
      <dgm:prSet presAssocID="{721F7D6D-F748-4B4C-ACAD-6C2923AA6EE5}" presName="background4" presStyleLbl="node4" presStyleIdx="3" presStyleCnt="4"/>
      <dgm:spPr>
        <a:solidFill>
          <a:srgbClr val="CDCDEB"/>
        </a:solidFill>
      </dgm:spPr>
    </dgm:pt>
    <dgm:pt modelId="{630235C7-E3A0-4C25-93D3-2750B1FE3D81}" type="pres">
      <dgm:prSet presAssocID="{721F7D6D-F748-4B4C-ACAD-6C2923AA6EE5}" presName="text4" presStyleLbl="fgAcc4" presStyleIdx="3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A1092AE-193C-4653-91E8-AC6A32BF5173}" type="pres">
      <dgm:prSet presAssocID="{721F7D6D-F748-4B4C-ACAD-6C2923AA6EE5}" presName="hierChild5" presStyleCnt="0"/>
      <dgm:spPr/>
    </dgm:pt>
  </dgm:ptLst>
  <dgm:cxnLst>
    <dgm:cxn modelId="{BFEACDC3-212F-4759-A72B-67BF48A00669}" type="presOf" srcId="{827D62E4-0963-4986-A5DA-E5521FA01ABB}" destId="{679B06A6-DDC3-4C13-9332-5A852F854E1A}" srcOrd="0" destOrd="0" presId="urn:microsoft.com/office/officeart/2005/8/layout/hierarchy1"/>
    <dgm:cxn modelId="{C6AD92C3-1AEF-412C-9BCA-4161A203BAC8}" type="presOf" srcId="{67000E32-27B0-459D-ADCF-170A41D5DF49}" destId="{9DC8A7B3-0C87-4857-AFAE-00CF877D71D1}" srcOrd="0" destOrd="0" presId="urn:microsoft.com/office/officeart/2005/8/layout/hierarchy1"/>
    <dgm:cxn modelId="{7C9762EE-E509-429B-A030-C1B5BB674214}" srcId="{41F3CAF1-6722-4C2A-B408-9D2401F15889}" destId="{88CE0B82-FA1B-4420-BAAA-9F88A922EB1C}" srcOrd="0" destOrd="0" parTransId="{67000E32-27B0-459D-ADCF-170A41D5DF49}" sibTransId="{8D0E3FF6-1A11-4047-8F50-30CF86290581}"/>
    <dgm:cxn modelId="{CFEE0AC4-7B31-47C2-991E-4747B8ADFABD}" type="presOf" srcId="{4A518997-49CF-4B39-9A86-83484F08280F}" destId="{028B4D52-3A2A-4FAE-9949-0CFEB34074C7}" srcOrd="0" destOrd="0" presId="urn:microsoft.com/office/officeart/2005/8/layout/hierarchy1"/>
    <dgm:cxn modelId="{A3246406-1E44-4EAA-9BA5-BBE93EFBF43F}" type="presOf" srcId="{3B5329C4-FB07-44C0-B330-6F42D5D4C2BA}" destId="{A6D08E6B-5BF0-48FD-B2CC-350D05273797}" srcOrd="0" destOrd="0" presId="urn:microsoft.com/office/officeart/2005/8/layout/hierarchy1"/>
    <dgm:cxn modelId="{3DE42672-3E9C-49B5-B1EA-D434A9FDE7F0}" type="presOf" srcId="{40E05000-2002-454D-893F-45AEB5F5F318}" destId="{BFD666D7-B900-4083-A123-AA13410EFDFE}" srcOrd="0" destOrd="0" presId="urn:microsoft.com/office/officeart/2005/8/layout/hierarchy1"/>
    <dgm:cxn modelId="{F1E3B7BA-BAD3-402D-9E84-48CC09A69592}" type="presOf" srcId="{721F7D6D-F748-4B4C-ACAD-6C2923AA6EE5}" destId="{630235C7-E3A0-4C25-93D3-2750B1FE3D81}" srcOrd="0" destOrd="0" presId="urn:microsoft.com/office/officeart/2005/8/layout/hierarchy1"/>
    <dgm:cxn modelId="{5DC44D3F-BAFF-4D06-8557-B40090234829}" srcId="{88CE0B82-FA1B-4420-BAAA-9F88A922EB1C}" destId="{ABF6C51A-779A-4318-B23B-D324EB0F80FD}" srcOrd="0" destOrd="0" parTransId="{99DEA949-1DB4-4BD5-9F0C-16D563DC73D0}" sibTransId="{C19A5FD2-EFF9-4256-A790-396E9E2B284D}"/>
    <dgm:cxn modelId="{60848628-F31A-4B59-91FC-D201FF15D727}" type="presOf" srcId="{26B5C158-1B40-4881-8C5B-A3EC6EA169DA}" destId="{94AA146F-734F-4F1D-8B99-0782E9D7324C}" srcOrd="0" destOrd="0" presId="urn:microsoft.com/office/officeart/2005/8/layout/hierarchy1"/>
    <dgm:cxn modelId="{EC28ABE1-4A77-4159-8785-97D886AEBB14}" srcId="{43C9E1BA-D420-4C74-9669-6A6E73E46491}" destId="{C47603DB-4B31-4DF1-BB4E-17AD54496B0B}" srcOrd="0" destOrd="0" parTransId="{63718D3D-F0C2-4A5B-96E8-EE00CD7C4701}" sibTransId="{F11BCB1A-95D6-41D2-AB43-0BAC1CFF5557}"/>
    <dgm:cxn modelId="{0EE29003-712A-4FFF-AEC8-D58CC3ECCCCE}" type="presOf" srcId="{68EB56D6-F5F0-49D0-BE73-D6BD0D71D4FF}" destId="{E4339B3E-3838-41CF-8223-A465A3875B1E}" srcOrd="0" destOrd="0" presId="urn:microsoft.com/office/officeart/2005/8/layout/hierarchy1"/>
    <dgm:cxn modelId="{DACC3A52-456C-4860-85C8-1B7F6FA7B23E}" srcId="{C47603DB-4B31-4DF1-BB4E-17AD54496B0B}" destId="{41F3CAF1-6722-4C2A-B408-9D2401F15889}" srcOrd="0" destOrd="0" parTransId="{14FEBDFA-8A89-4995-A1AB-B993B6263E01}" sibTransId="{0DDED74D-B070-4756-818E-6195BAAC5C6B}"/>
    <dgm:cxn modelId="{B82C1D4D-7C88-4095-9007-E0A039BFAFF5}" type="presOf" srcId="{99DEA949-1DB4-4BD5-9F0C-16D563DC73D0}" destId="{1E387D0B-B80F-4475-8185-B5865362B416}" srcOrd="0" destOrd="0" presId="urn:microsoft.com/office/officeart/2005/8/layout/hierarchy1"/>
    <dgm:cxn modelId="{BF13E118-6FB8-4286-93FD-7B9B4E2257E6}" type="presOf" srcId="{43C9E1BA-D420-4C74-9669-6A6E73E46491}" destId="{836101FD-3D2E-4398-A9A3-B904E9868F70}" srcOrd="0" destOrd="0" presId="urn:microsoft.com/office/officeart/2005/8/layout/hierarchy1"/>
    <dgm:cxn modelId="{7B8B6DED-4379-4E9C-AD28-E0BC0B8D2CBF}" srcId="{41F3CAF1-6722-4C2A-B408-9D2401F15889}" destId="{68EB56D6-F5F0-49D0-BE73-D6BD0D71D4FF}" srcOrd="1" destOrd="0" parTransId="{40E05000-2002-454D-893F-45AEB5F5F318}" sibTransId="{9AD5F1E9-4698-471D-A6A0-3406303CB204}"/>
    <dgm:cxn modelId="{F74FB45E-0EDF-4F03-9DD7-36A0A66DCF96}" srcId="{827D62E4-0963-4986-A5DA-E5521FA01ABB}" destId="{B6DADBBF-9055-4960-8E20-579CE8DAB9F8}" srcOrd="0" destOrd="0" parTransId="{298A3F65-138A-49B3-AC77-7609FAB3AD0E}" sibTransId="{ACD15615-169B-48C5-82A8-6DA90306A43C}"/>
    <dgm:cxn modelId="{CDE689E3-7E84-4612-B9E8-B5CE9318DC19}" type="presOf" srcId="{2A0DD6F1-C4DB-4466-94E8-3B3E4465F053}" destId="{CAA9DD50-CC53-46F9-B478-9DC5E91884A9}" srcOrd="0" destOrd="0" presId="urn:microsoft.com/office/officeart/2005/8/layout/hierarchy1"/>
    <dgm:cxn modelId="{669BE064-10CB-446D-8B4B-3326F02E98C7}" type="presOf" srcId="{3F0DDEB2-E4DE-43D9-92BE-FE5C50A297DF}" destId="{6F7AE0AA-2741-4D56-8E62-636E70776692}" srcOrd="0" destOrd="0" presId="urn:microsoft.com/office/officeart/2005/8/layout/hierarchy1"/>
    <dgm:cxn modelId="{1AA7D060-FF4C-4859-8783-3DF815DB5A8F}" type="presOf" srcId="{41F3CAF1-6722-4C2A-B408-9D2401F15889}" destId="{98B54796-FC26-48A8-8AE2-BED90B49B645}" srcOrd="0" destOrd="0" presId="urn:microsoft.com/office/officeart/2005/8/layout/hierarchy1"/>
    <dgm:cxn modelId="{46389525-2185-4E4B-8AF7-30EC8F57D067}" srcId="{B6DADBBF-9055-4960-8E20-579CE8DAB9F8}" destId="{2A0DD6F1-C4DB-4466-94E8-3B3E4465F053}" srcOrd="0" destOrd="0" parTransId="{26B5C158-1B40-4881-8C5B-A3EC6EA169DA}" sibTransId="{5B9DBE72-AD31-4A63-8F57-DB94D646AF2D}"/>
    <dgm:cxn modelId="{C5AD3E35-FF34-4C4A-A668-619857B16124}" srcId="{C47603DB-4B31-4DF1-BB4E-17AD54496B0B}" destId="{827D62E4-0963-4986-A5DA-E5521FA01ABB}" srcOrd="1" destOrd="0" parTransId="{3F0DDEB2-E4DE-43D9-92BE-FE5C50A297DF}" sibTransId="{89DE9CC6-65D5-4A0E-9A49-91D5A4361A47}"/>
    <dgm:cxn modelId="{E1386006-F9C2-4652-B254-387D6975FB79}" type="presOf" srcId="{3BE5C46B-F63C-409F-B240-5C8EE270F809}" destId="{23C0D91E-2927-43CF-8F81-3F3EB496D6D7}" srcOrd="0" destOrd="0" presId="urn:microsoft.com/office/officeart/2005/8/layout/hierarchy1"/>
    <dgm:cxn modelId="{EE44EC7E-6DA2-4C6B-B3B4-F9C574D299F2}" type="presOf" srcId="{B6DADBBF-9055-4960-8E20-579CE8DAB9F8}" destId="{C2AF5D0B-756B-4D62-A132-22AAC1FCF2D8}" srcOrd="0" destOrd="0" presId="urn:microsoft.com/office/officeart/2005/8/layout/hierarchy1"/>
    <dgm:cxn modelId="{F45C627A-A230-43F6-974C-286F374974A0}" type="presOf" srcId="{14FEBDFA-8A89-4995-A1AB-B993B6263E01}" destId="{32B1DCA6-4959-4E2F-BAC0-18AB56955FE4}" srcOrd="0" destOrd="0" presId="urn:microsoft.com/office/officeart/2005/8/layout/hierarchy1"/>
    <dgm:cxn modelId="{2B4CB73B-8B4F-443A-B12C-4627ADC4FEDD}" srcId="{977A00A2-01C9-4ADD-8E80-CDC24D05C0AE}" destId="{721F7D6D-F748-4B4C-ACAD-6C2923AA6EE5}" srcOrd="0" destOrd="0" parTransId="{3BE5C46B-F63C-409F-B240-5C8EE270F809}" sibTransId="{98D664ED-78A2-4597-9088-C3A18500E7D8}"/>
    <dgm:cxn modelId="{27850705-D90B-441C-A6E0-94BFDEDC3927}" type="presOf" srcId="{977A00A2-01C9-4ADD-8E80-CDC24D05C0AE}" destId="{B46A1DD7-1B0E-408D-81B7-BF6F50B64F7E}" srcOrd="0" destOrd="0" presId="urn:microsoft.com/office/officeart/2005/8/layout/hierarchy1"/>
    <dgm:cxn modelId="{9207B2D3-829D-4458-A813-75A9A8188D4C}" type="presOf" srcId="{88CE0B82-FA1B-4420-BAAA-9F88A922EB1C}" destId="{51D6E1C6-96E3-4B97-8476-21B3CA78BB92}" srcOrd="0" destOrd="0" presId="urn:microsoft.com/office/officeart/2005/8/layout/hierarchy1"/>
    <dgm:cxn modelId="{9A89BA61-F49F-4123-9395-B079A6A88650}" type="presOf" srcId="{298A3F65-138A-49B3-AC77-7609FAB3AD0E}" destId="{883DD498-5D19-48C9-A16B-884FA808A6BA}" srcOrd="0" destOrd="0" presId="urn:microsoft.com/office/officeart/2005/8/layout/hierarchy1"/>
    <dgm:cxn modelId="{399069B6-41BE-49B4-88F8-017A0C36ACC7}" type="presOf" srcId="{AD5095F0-EBC9-44D6-AD91-BBE16D199310}" destId="{05ECEB01-001F-48D2-987E-77C73DCBB566}" srcOrd="0" destOrd="0" presId="urn:microsoft.com/office/officeart/2005/8/layout/hierarchy1"/>
    <dgm:cxn modelId="{171E0E48-402F-4655-A2C3-A81D687F943D}" type="presOf" srcId="{ABF6C51A-779A-4318-B23B-D324EB0F80FD}" destId="{7E93CCB9-CBEA-42A2-B9F6-893C4698C641}" srcOrd="0" destOrd="0" presId="urn:microsoft.com/office/officeart/2005/8/layout/hierarchy1"/>
    <dgm:cxn modelId="{09A26EE0-FFF9-42DD-801A-71D9452BC4C5}" type="presOf" srcId="{C47603DB-4B31-4DF1-BB4E-17AD54496B0B}" destId="{94B7CDD0-4D05-4701-AAA4-588193AE41CD}" srcOrd="0" destOrd="0" presId="urn:microsoft.com/office/officeart/2005/8/layout/hierarchy1"/>
    <dgm:cxn modelId="{C56A9608-6F3F-4806-94C4-08C053A1045B}" srcId="{827D62E4-0963-4986-A5DA-E5521FA01ABB}" destId="{977A00A2-01C9-4ADD-8E80-CDC24D05C0AE}" srcOrd="1" destOrd="0" parTransId="{3B5329C4-FB07-44C0-B330-6F42D5D4C2BA}" sibTransId="{00C83ED8-A94C-49E1-8B15-DAA60F2C6A0D}"/>
    <dgm:cxn modelId="{54AB46B7-CC80-4B54-8937-21FAAFD7FB69}" srcId="{68EB56D6-F5F0-49D0-BE73-D6BD0D71D4FF}" destId="{AD5095F0-EBC9-44D6-AD91-BBE16D199310}" srcOrd="0" destOrd="0" parTransId="{4A518997-49CF-4B39-9A86-83484F08280F}" sibTransId="{50282176-0FAD-4BDC-8BB2-CA07C478CD73}"/>
    <dgm:cxn modelId="{2C89BBBF-2722-412C-B3DF-A14D28032D66}" type="presParOf" srcId="{836101FD-3D2E-4398-A9A3-B904E9868F70}" destId="{33CDB055-00F5-48B4-9557-73981A0E19F3}" srcOrd="0" destOrd="0" presId="urn:microsoft.com/office/officeart/2005/8/layout/hierarchy1"/>
    <dgm:cxn modelId="{E0CA565C-6A71-4893-9CD5-A1051A9ED407}" type="presParOf" srcId="{33CDB055-00F5-48B4-9557-73981A0E19F3}" destId="{38D74A0F-130A-4D99-983B-C34E94651A8F}" srcOrd="0" destOrd="0" presId="urn:microsoft.com/office/officeart/2005/8/layout/hierarchy1"/>
    <dgm:cxn modelId="{16FBBF41-2B25-439E-B19B-DAB652899821}" type="presParOf" srcId="{38D74A0F-130A-4D99-983B-C34E94651A8F}" destId="{4E5F6BBE-60FE-467F-8279-C9A0ECC2529F}" srcOrd="0" destOrd="0" presId="urn:microsoft.com/office/officeart/2005/8/layout/hierarchy1"/>
    <dgm:cxn modelId="{246D833C-2437-4854-9FCD-3A08EBD784BD}" type="presParOf" srcId="{38D74A0F-130A-4D99-983B-C34E94651A8F}" destId="{94B7CDD0-4D05-4701-AAA4-588193AE41CD}" srcOrd="1" destOrd="0" presId="urn:microsoft.com/office/officeart/2005/8/layout/hierarchy1"/>
    <dgm:cxn modelId="{395B72B6-0EF2-46F1-9701-F5D9AAA38949}" type="presParOf" srcId="{33CDB055-00F5-48B4-9557-73981A0E19F3}" destId="{B30EFC3A-A8DF-491C-9A7D-DEE5A084CDF4}" srcOrd="1" destOrd="0" presId="urn:microsoft.com/office/officeart/2005/8/layout/hierarchy1"/>
    <dgm:cxn modelId="{CA7A34A8-E65B-4E08-A140-F4206F48E972}" type="presParOf" srcId="{B30EFC3A-A8DF-491C-9A7D-DEE5A084CDF4}" destId="{32B1DCA6-4959-4E2F-BAC0-18AB56955FE4}" srcOrd="0" destOrd="0" presId="urn:microsoft.com/office/officeart/2005/8/layout/hierarchy1"/>
    <dgm:cxn modelId="{1E6901C1-CF87-41E7-B04A-1627B3DBDFBC}" type="presParOf" srcId="{B30EFC3A-A8DF-491C-9A7D-DEE5A084CDF4}" destId="{BFA66387-BBE6-4F92-B0CC-AA02B8F7DBC7}" srcOrd="1" destOrd="0" presId="urn:microsoft.com/office/officeart/2005/8/layout/hierarchy1"/>
    <dgm:cxn modelId="{CAB6B3E5-F4B2-4EC6-8324-976BCD3F4598}" type="presParOf" srcId="{BFA66387-BBE6-4F92-B0CC-AA02B8F7DBC7}" destId="{C03D2A29-58E1-4C6F-BB2E-10B7AA61FDC4}" srcOrd="0" destOrd="0" presId="urn:microsoft.com/office/officeart/2005/8/layout/hierarchy1"/>
    <dgm:cxn modelId="{9330353E-0FCC-4C93-9320-92D4F292B0EC}" type="presParOf" srcId="{C03D2A29-58E1-4C6F-BB2E-10B7AA61FDC4}" destId="{F2A8E741-786A-454C-B550-C58294F79E1B}" srcOrd="0" destOrd="0" presId="urn:microsoft.com/office/officeart/2005/8/layout/hierarchy1"/>
    <dgm:cxn modelId="{9E258147-D3FC-41AC-B364-6F89F184A5B6}" type="presParOf" srcId="{C03D2A29-58E1-4C6F-BB2E-10B7AA61FDC4}" destId="{98B54796-FC26-48A8-8AE2-BED90B49B645}" srcOrd="1" destOrd="0" presId="urn:microsoft.com/office/officeart/2005/8/layout/hierarchy1"/>
    <dgm:cxn modelId="{8FA55044-B395-499D-98DD-378FCFF5541F}" type="presParOf" srcId="{BFA66387-BBE6-4F92-B0CC-AA02B8F7DBC7}" destId="{E0E0440E-8E2D-4B5A-B194-4C7146F7F649}" srcOrd="1" destOrd="0" presId="urn:microsoft.com/office/officeart/2005/8/layout/hierarchy1"/>
    <dgm:cxn modelId="{3945B5A9-A1AB-4A14-9864-04E6E065845E}" type="presParOf" srcId="{E0E0440E-8E2D-4B5A-B194-4C7146F7F649}" destId="{9DC8A7B3-0C87-4857-AFAE-00CF877D71D1}" srcOrd="0" destOrd="0" presId="urn:microsoft.com/office/officeart/2005/8/layout/hierarchy1"/>
    <dgm:cxn modelId="{6FA9184B-8EC3-4D95-A47C-0C20A38D33B4}" type="presParOf" srcId="{E0E0440E-8E2D-4B5A-B194-4C7146F7F649}" destId="{D1F1A570-93ED-4CEC-A097-6627FD924EF7}" srcOrd="1" destOrd="0" presId="urn:microsoft.com/office/officeart/2005/8/layout/hierarchy1"/>
    <dgm:cxn modelId="{CDC9B466-0CE3-4C5B-8303-EDFEB3AFA140}" type="presParOf" srcId="{D1F1A570-93ED-4CEC-A097-6627FD924EF7}" destId="{0C0A6724-B84F-41E2-9D10-6C5C5F214EB7}" srcOrd="0" destOrd="0" presId="urn:microsoft.com/office/officeart/2005/8/layout/hierarchy1"/>
    <dgm:cxn modelId="{C57E2612-AE26-488F-9E54-02D4206E1F5C}" type="presParOf" srcId="{0C0A6724-B84F-41E2-9D10-6C5C5F214EB7}" destId="{7252842B-8401-4441-9455-9E1836C93C82}" srcOrd="0" destOrd="0" presId="urn:microsoft.com/office/officeart/2005/8/layout/hierarchy1"/>
    <dgm:cxn modelId="{D84E6CFA-85DB-4D9E-8311-5969BF026A2D}" type="presParOf" srcId="{0C0A6724-B84F-41E2-9D10-6C5C5F214EB7}" destId="{51D6E1C6-96E3-4B97-8476-21B3CA78BB92}" srcOrd="1" destOrd="0" presId="urn:microsoft.com/office/officeart/2005/8/layout/hierarchy1"/>
    <dgm:cxn modelId="{2B5283C1-EBED-4FEC-BA01-A5F7592E0588}" type="presParOf" srcId="{D1F1A570-93ED-4CEC-A097-6627FD924EF7}" destId="{8A9A0C91-F238-4404-8554-647C7E202907}" srcOrd="1" destOrd="0" presId="urn:microsoft.com/office/officeart/2005/8/layout/hierarchy1"/>
    <dgm:cxn modelId="{F8FB3B34-7ACE-400A-916B-06BACA583944}" type="presParOf" srcId="{8A9A0C91-F238-4404-8554-647C7E202907}" destId="{1E387D0B-B80F-4475-8185-B5865362B416}" srcOrd="0" destOrd="0" presId="urn:microsoft.com/office/officeart/2005/8/layout/hierarchy1"/>
    <dgm:cxn modelId="{2221E9E1-DBE2-4F48-AC98-01F8D4F4CE08}" type="presParOf" srcId="{8A9A0C91-F238-4404-8554-647C7E202907}" destId="{8B3EBD9E-F4C6-4F53-97AB-1A6F94C3E6F3}" srcOrd="1" destOrd="0" presId="urn:microsoft.com/office/officeart/2005/8/layout/hierarchy1"/>
    <dgm:cxn modelId="{ED03CF28-0FF5-4D60-A3CF-7332FF44A7A9}" type="presParOf" srcId="{8B3EBD9E-F4C6-4F53-97AB-1A6F94C3E6F3}" destId="{823DEDC1-21DC-40D8-80BC-DAA4ABDE40A5}" srcOrd="0" destOrd="0" presId="urn:microsoft.com/office/officeart/2005/8/layout/hierarchy1"/>
    <dgm:cxn modelId="{7DE9C26C-5A44-4ADA-8905-AA801F38B987}" type="presParOf" srcId="{823DEDC1-21DC-40D8-80BC-DAA4ABDE40A5}" destId="{CE2D016C-F301-4EFD-9E8E-6B4FA5418A50}" srcOrd="0" destOrd="0" presId="urn:microsoft.com/office/officeart/2005/8/layout/hierarchy1"/>
    <dgm:cxn modelId="{A4C2572A-9F0D-43F5-8FE9-CD27D2449D6B}" type="presParOf" srcId="{823DEDC1-21DC-40D8-80BC-DAA4ABDE40A5}" destId="{7E93CCB9-CBEA-42A2-B9F6-893C4698C641}" srcOrd="1" destOrd="0" presId="urn:microsoft.com/office/officeart/2005/8/layout/hierarchy1"/>
    <dgm:cxn modelId="{8F76196C-5AC5-4901-BD84-EE6B7160E8A7}" type="presParOf" srcId="{8B3EBD9E-F4C6-4F53-97AB-1A6F94C3E6F3}" destId="{07B4F550-82F7-4AEE-A82B-4E0672AEFCB7}" srcOrd="1" destOrd="0" presId="urn:microsoft.com/office/officeart/2005/8/layout/hierarchy1"/>
    <dgm:cxn modelId="{7A0981D8-4B5E-4D90-A37C-C4B4A18BC03E}" type="presParOf" srcId="{E0E0440E-8E2D-4B5A-B194-4C7146F7F649}" destId="{BFD666D7-B900-4083-A123-AA13410EFDFE}" srcOrd="2" destOrd="0" presId="urn:microsoft.com/office/officeart/2005/8/layout/hierarchy1"/>
    <dgm:cxn modelId="{1610BC58-A7F7-415F-98BF-069962398B4A}" type="presParOf" srcId="{E0E0440E-8E2D-4B5A-B194-4C7146F7F649}" destId="{6C00E40C-3091-478F-9E87-1616D5CFBA5D}" srcOrd="3" destOrd="0" presId="urn:microsoft.com/office/officeart/2005/8/layout/hierarchy1"/>
    <dgm:cxn modelId="{3FB44B6B-CFB8-4492-8F1C-9DC5DDD41766}" type="presParOf" srcId="{6C00E40C-3091-478F-9E87-1616D5CFBA5D}" destId="{4738A09C-E9C7-4CA8-A011-D9B8790CB645}" srcOrd="0" destOrd="0" presId="urn:microsoft.com/office/officeart/2005/8/layout/hierarchy1"/>
    <dgm:cxn modelId="{8130803A-50AA-47D3-8220-C9D1F52B081F}" type="presParOf" srcId="{4738A09C-E9C7-4CA8-A011-D9B8790CB645}" destId="{B36ADDD6-2F2F-403F-A4A7-4986B4F3E070}" srcOrd="0" destOrd="0" presId="urn:microsoft.com/office/officeart/2005/8/layout/hierarchy1"/>
    <dgm:cxn modelId="{998626B4-3CCC-4956-9761-09900206EA2F}" type="presParOf" srcId="{4738A09C-E9C7-4CA8-A011-D9B8790CB645}" destId="{E4339B3E-3838-41CF-8223-A465A3875B1E}" srcOrd="1" destOrd="0" presId="urn:microsoft.com/office/officeart/2005/8/layout/hierarchy1"/>
    <dgm:cxn modelId="{EDE695EB-93F9-4C2E-AEF0-C7150A528D70}" type="presParOf" srcId="{6C00E40C-3091-478F-9E87-1616D5CFBA5D}" destId="{49FDDC37-EF87-4A50-8CEA-64EE0C484E2D}" srcOrd="1" destOrd="0" presId="urn:microsoft.com/office/officeart/2005/8/layout/hierarchy1"/>
    <dgm:cxn modelId="{0E53E6F7-1461-4611-AAD6-DEA7DB795705}" type="presParOf" srcId="{49FDDC37-EF87-4A50-8CEA-64EE0C484E2D}" destId="{028B4D52-3A2A-4FAE-9949-0CFEB34074C7}" srcOrd="0" destOrd="0" presId="urn:microsoft.com/office/officeart/2005/8/layout/hierarchy1"/>
    <dgm:cxn modelId="{B2C2DA3E-3BB3-45EE-93CC-F065AC64F655}" type="presParOf" srcId="{49FDDC37-EF87-4A50-8CEA-64EE0C484E2D}" destId="{7EA6BAD2-43EA-47DC-A10F-5C0C4E70377C}" srcOrd="1" destOrd="0" presId="urn:microsoft.com/office/officeart/2005/8/layout/hierarchy1"/>
    <dgm:cxn modelId="{83FDFB1D-9C60-406A-B3C8-A84F90B221F9}" type="presParOf" srcId="{7EA6BAD2-43EA-47DC-A10F-5C0C4E70377C}" destId="{3CBB7C4B-2384-4101-BD91-EC4595AF3786}" srcOrd="0" destOrd="0" presId="urn:microsoft.com/office/officeart/2005/8/layout/hierarchy1"/>
    <dgm:cxn modelId="{185EB6BE-F0FC-49A4-91B3-6F5BC5CBDFB2}" type="presParOf" srcId="{3CBB7C4B-2384-4101-BD91-EC4595AF3786}" destId="{8BC1D1BF-EB2B-4B05-8780-347EF1194ED4}" srcOrd="0" destOrd="0" presId="urn:microsoft.com/office/officeart/2005/8/layout/hierarchy1"/>
    <dgm:cxn modelId="{1E54A4C4-B591-46F9-BD98-B170D9B8BD02}" type="presParOf" srcId="{3CBB7C4B-2384-4101-BD91-EC4595AF3786}" destId="{05ECEB01-001F-48D2-987E-77C73DCBB566}" srcOrd="1" destOrd="0" presId="urn:microsoft.com/office/officeart/2005/8/layout/hierarchy1"/>
    <dgm:cxn modelId="{C11D9E21-B66B-4DF0-B343-E881B6C30C11}" type="presParOf" srcId="{7EA6BAD2-43EA-47DC-A10F-5C0C4E70377C}" destId="{2553D5D5-7ED0-4D39-9DCA-2A220E774727}" srcOrd="1" destOrd="0" presId="urn:microsoft.com/office/officeart/2005/8/layout/hierarchy1"/>
    <dgm:cxn modelId="{948D9663-9755-4956-8D77-7ECFB0253D7E}" type="presParOf" srcId="{B30EFC3A-A8DF-491C-9A7D-DEE5A084CDF4}" destId="{6F7AE0AA-2741-4D56-8E62-636E70776692}" srcOrd="2" destOrd="0" presId="urn:microsoft.com/office/officeart/2005/8/layout/hierarchy1"/>
    <dgm:cxn modelId="{8B956998-9D4E-4A61-B5BE-B32BDF1915A5}" type="presParOf" srcId="{B30EFC3A-A8DF-491C-9A7D-DEE5A084CDF4}" destId="{DC299479-2E4B-4F8E-BDDC-74114C7B9534}" srcOrd="3" destOrd="0" presId="urn:microsoft.com/office/officeart/2005/8/layout/hierarchy1"/>
    <dgm:cxn modelId="{12095329-CA16-4FBE-88C1-D31221E33795}" type="presParOf" srcId="{DC299479-2E4B-4F8E-BDDC-74114C7B9534}" destId="{AE13F9FA-CE45-4D5D-AB23-6A86179E5882}" srcOrd="0" destOrd="0" presId="urn:microsoft.com/office/officeart/2005/8/layout/hierarchy1"/>
    <dgm:cxn modelId="{4C1CE9BB-2EF9-447C-847A-CAA8C9E30709}" type="presParOf" srcId="{AE13F9FA-CE45-4D5D-AB23-6A86179E5882}" destId="{1A3FCCDE-0A5B-44F6-BF5A-D16505D51FFB}" srcOrd="0" destOrd="0" presId="urn:microsoft.com/office/officeart/2005/8/layout/hierarchy1"/>
    <dgm:cxn modelId="{7FF692A5-8DAA-4328-9C98-CB049E6AF1E7}" type="presParOf" srcId="{AE13F9FA-CE45-4D5D-AB23-6A86179E5882}" destId="{679B06A6-DDC3-4C13-9332-5A852F854E1A}" srcOrd="1" destOrd="0" presId="urn:microsoft.com/office/officeart/2005/8/layout/hierarchy1"/>
    <dgm:cxn modelId="{5D0F6A7F-848E-4846-8291-DE3FAC30244F}" type="presParOf" srcId="{DC299479-2E4B-4F8E-BDDC-74114C7B9534}" destId="{7821C6BE-A0FE-4392-8DE2-EB9219DCFA5A}" srcOrd="1" destOrd="0" presId="urn:microsoft.com/office/officeart/2005/8/layout/hierarchy1"/>
    <dgm:cxn modelId="{2CEF9DB1-5D67-426F-94A2-5E764C8E029C}" type="presParOf" srcId="{7821C6BE-A0FE-4392-8DE2-EB9219DCFA5A}" destId="{883DD498-5D19-48C9-A16B-884FA808A6BA}" srcOrd="0" destOrd="0" presId="urn:microsoft.com/office/officeart/2005/8/layout/hierarchy1"/>
    <dgm:cxn modelId="{8A2142D0-DF12-40CE-9DD7-C37086745FA4}" type="presParOf" srcId="{7821C6BE-A0FE-4392-8DE2-EB9219DCFA5A}" destId="{D13AC2BF-DD77-4B22-A627-680100604A3A}" srcOrd="1" destOrd="0" presId="urn:microsoft.com/office/officeart/2005/8/layout/hierarchy1"/>
    <dgm:cxn modelId="{DB278CD9-0318-401E-A383-42F7251F6745}" type="presParOf" srcId="{D13AC2BF-DD77-4B22-A627-680100604A3A}" destId="{E256FA4E-CB9E-445C-92EE-8D16545C8898}" srcOrd="0" destOrd="0" presId="urn:microsoft.com/office/officeart/2005/8/layout/hierarchy1"/>
    <dgm:cxn modelId="{0BAB473B-6904-4BF4-BB44-1B07847A2670}" type="presParOf" srcId="{E256FA4E-CB9E-445C-92EE-8D16545C8898}" destId="{64457035-7603-49D7-B512-D5CC4A7F4DA8}" srcOrd="0" destOrd="0" presId="urn:microsoft.com/office/officeart/2005/8/layout/hierarchy1"/>
    <dgm:cxn modelId="{7D12D532-96A0-4AFD-8B18-7ED03043E699}" type="presParOf" srcId="{E256FA4E-CB9E-445C-92EE-8D16545C8898}" destId="{C2AF5D0B-756B-4D62-A132-22AAC1FCF2D8}" srcOrd="1" destOrd="0" presId="urn:microsoft.com/office/officeart/2005/8/layout/hierarchy1"/>
    <dgm:cxn modelId="{40C7882C-943A-4AF5-8B87-E1A6D5198F2F}" type="presParOf" srcId="{D13AC2BF-DD77-4B22-A627-680100604A3A}" destId="{D4CA00B3-5F0C-45DD-934D-5C1B730FA8E1}" srcOrd="1" destOrd="0" presId="urn:microsoft.com/office/officeart/2005/8/layout/hierarchy1"/>
    <dgm:cxn modelId="{7FCB56E8-53B1-4F8A-923A-9193F20F7ACE}" type="presParOf" srcId="{D4CA00B3-5F0C-45DD-934D-5C1B730FA8E1}" destId="{94AA146F-734F-4F1D-8B99-0782E9D7324C}" srcOrd="0" destOrd="0" presId="urn:microsoft.com/office/officeart/2005/8/layout/hierarchy1"/>
    <dgm:cxn modelId="{FD97CE00-8349-4845-ABC7-3C265B50D4EF}" type="presParOf" srcId="{D4CA00B3-5F0C-45DD-934D-5C1B730FA8E1}" destId="{50223EA6-7259-47DD-8B6D-5D21FE99EBBA}" srcOrd="1" destOrd="0" presId="urn:microsoft.com/office/officeart/2005/8/layout/hierarchy1"/>
    <dgm:cxn modelId="{048A6866-4044-402B-9F77-7648348E7FF4}" type="presParOf" srcId="{50223EA6-7259-47DD-8B6D-5D21FE99EBBA}" destId="{795A41CE-CB2A-4105-A2DE-CBC8DB237FE8}" srcOrd="0" destOrd="0" presId="urn:microsoft.com/office/officeart/2005/8/layout/hierarchy1"/>
    <dgm:cxn modelId="{8AC5A328-D144-4FAE-99A8-4996C1F7E27C}" type="presParOf" srcId="{795A41CE-CB2A-4105-A2DE-CBC8DB237FE8}" destId="{A193D97B-8884-4EF5-B522-1F8ABD432A2F}" srcOrd="0" destOrd="0" presId="urn:microsoft.com/office/officeart/2005/8/layout/hierarchy1"/>
    <dgm:cxn modelId="{038A5C11-2AC4-426C-BEA8-E5F12DEE5CD2}" type="presParOf" srcId="{795A41CE-CB2A-4105-A2DE-CBC8DB237FE8}" destId="{CAA9DD50-CC53-46F9-B478-9DC5E91884A9}" srcOrd="1" destOrd="0" presId="urn:microsoft.com/office/officeart/2005/8/layout/hierarchy1"/>
    <dgm:cxn modelId="{04958559-BC65-4ABE-9875-806D642C30A5}" type="presParOf" srcId="{50223EA6-7259-47DD-8B6D-5D21FE99EBBA}" destId="{4D5F6B4C-F062-4915-8F9D-1A5927AF18CF}" srcOrd="1" destOrd="0" presId="urn:microsoft.com/office/officeart/2005/8/layout/hierarchy1"/>
    <dgm:cxn modelId="{C020023D-86F0-4A87-8A18-7F1B8C9B2949}" type="presParOf" srcId="{7821C6BE-A0FE-4392-8DE2-EB9219DCFA5A}" destId="{A6D08E6B-5BF0-48FD-B2CC-350D05273797}" srcOrd="2" destOrd="0" presId="urn:microsoft.com/office/officeart/2005/8/layout/hierarchy1"/>
    <dgm:cxn modelId="{5D05769E-4DF8-4621-8641-249721CDF393}" type="presParOf" srcId="{7821C6BE-A0FE-4392-8DE2-EB9219DCFA5A}" destId="{1049B57A-6861-4BB4-B5AA-BD575CFEC990}" srcOrd="3" destOrd="0" presId="urn:microsoft.com/office/officeart/2005/8/layout/hierarchy1"/>
    <dgm:cxn modelId="{F93C6F3B-94A8-4E25-BF1D-02C379148010}" type="presParOf" srcId="{1049B57A-6861-4BB4-B5AA-BD575CFEC990}" destId="{EA19F082-63E0-433A-B1FF-8D526A01BA21}" srcOrd="0" destOrd="0" presId="urn:microsoft.com/office/officeart/2005/8/layout/hierarchy1"/>
    <dgm:cxn modelId="{D5519AD3-B084-4683-ACDF-D6078210AA40}" type="presParOf" srcId="{EA19F082-63E0-433A-B1FF-8D526A01BA21}" destId="{4D5670E1-582B-46FB-A0D0-3C3CD332677C}" srcOrd="0" destOrd="0" presId="urn:microsoft.com/office/officeart/2005/8/layout/hierarchy1"/>
    <dgm:cxn modelId="{25BCA692-E9C5-4B28-B1B5-46B62F7A331B}" type="presParOf" srcId="{EA19F082-63E0-433A-B1FF-8D526A01BA21}" destId="{B46A1DD7-1B0E-408D-81B7-BF6F50B64F7E}" srcOrd="1" destOrd="0" presId="urn:microsoft.com/office/officeart/2005/8/layout/hierarchy1"/>
    <dgm:cxn modelId="{D590E304-390B-40AE-893F-F2CD7F229539}" type="presParOf" srcId="{1049B57A-6861-4BB4-B5AA-BD575CFEC990}" destId="{D5BAB38B-CD53-4452-9B33-A27FC8A64FFF}" srcOrd="1" destOrd="0" presId="urn:microsoft.com/office/officeart/2005/8/layout/hierarchy1"/>
    <dgm:cxn modelId="{EAADE798-D795-4D6B-B341-76FC57CB16D8}" type="presParOf" srcId="{D5BAB38B-CD53-4452-9B33-A27FC8A64FFF}" destId="{23C0D91E-2927-43CF-8F81-3F3EB496D6D7}" srcOrd="0" destOrd="0" presId="urn:microsoft.com/office/officeart/2005/8/layout/hierarchy1"/>
    <dgm:cxn modelId="{D3C274A1-D8AA-4F10-BDED-6A55818288F3}" type="presParOf" srcId="{D5BAB38B-CD53-4452-9B33-A27FC8A64FFF}" destId="{68C631DD-5F08-4976-9B8A-FE54DDD857B2}" srcOrd="1" destOrd="0" presId="urn:microsoft.com/office/officeart/2005/8/layout/hierarchy1"/>
    <dgm:cxn modelId="{C1C0E136-A4ED-4C80-A5CE-D1705772DD8A}" type="presParOf" srcId="{68C631DD-5F08-4976-9B8A-FE54DDD857B2}" destId="{87C037A6-C714-4E2E-BF20-E03BD1F709B3}" srcOrd="0" destOrd="0" presId="urn:microsoft.com/office/officeart/2005/8/layout/hierarchy1"/>
    <dgm:cxn modelId="{0D59EEBC-893A-445B-A22E-9B6A8BC4F368}" type="presParOf" srcId="{87C037A6-C714-4E2E-BF20-E03BD1F709B3}" destId="{E9253DBD-E789-4095-AF77-A96EC3DFF9F1}" srcOrd="0" destOrd="0" presId="urn:microsoft.com/office/officeart/2005/8/layout/hierarchy1"/>
    <dgm:cxn modelId="{8D3FD587-7470-400E-AC99-D8022FD77A3F}" type="presParOf" srcId="{87C037A6-C714-4E2E-BF20-E03BD1F709B3}" destId="{630235C7-E3A0-4C25-93D3-2750B1FE3D81}" srcOrd="1" destOrd="0" presId="urn:microsoft.com/office/officeart/2005/8/layout/hierarchy1"/>
    <dgm:cxn modelId="{79BB93B2-21B3-477D-A219-4E69BEECEB2A}" type="presParOf" srcId="{68C631DD-5F08-4976-9B8A-FE54DDD857B2}" destId="{AA1092AE-193C-4653-91E8-AC6A32BF5173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1304FA-123D-467B-8A7F-D1D9F853E670}" type="doc">
      <dgm:prSet loTypeId="urn:microsoft.com/office/officeart/2005/8/layout/orgChart1" loCatId="hierarchy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C48F8B0-52EF-4364-944F-CFE7F2622399}">
      <dgm:prSet phldrT="[Текст]" custT="1"/>
      <dgm:spPr>
        <a:solidFill>
          <a:srgbClr val="C00000"/>
        </a:solidFill>
      </dgm:spPr>
      <dgm:t>
        <a:bodyPr/>
        <a:lstStyle/>
        <a:p>
          <a:r>
            <a:rPr lang="ru-RU" sz="2400" dirty="0"/>
            <a:t>Обращение</a:t>
          </a:r>
          <a:r>
            <a:rPr lang="ru-RU" sz="2900" dirty="0"/>
            <a:t>  </a:t>
          </a:r>
        </a:p>
      </dgm:t>
    </dgm:pt>
    <dgm:pt modelId="{25A8CA7D-FFCC-4E91-BB6E-2DFD0395D795}" type="parTrans" cxnId="{8CBBED40-7C6F-4E2A-901C-BA8AC1C0D054}">
      <dgm:prSet/>
      <dgm:spPr/>
      <dgm:t>
        <a:bodyPr/>
        <a:lstStyle/>
        <a:p>
          <a:endParaRPr lang="ru-RU"/>
        </a:p>
      </dgm:t>
    </dgm:pt>
    <dgm:pt modelId="{13CCB663-7F8E-4EF0-B348-C3112ACD63CE}" type="sibTrans" cxnId="{8CBBED40-7C6F-4E2A-901C-BA8AC1C0D054}">
      <dgm:prSet/>
      <dgm:spPr/>
      <dgm:t>
        <a:bodyPr/>
        <a:lstStyle/>
        <a:p>
          <a:endParaRPr lang="ru-RU"/>
        </a:p>
      </dgm:t>
    </dgm:pt>
    <dgm:pt modelId="{DBCC19AE-9578-4314-BE29-F3B0D030D416}" type="asst">
      <dgm:prSet phldrT="[Текст]" custT="1"/>
      <dgm:spPr>
        <a:solidFill>
          <a:srgbClr val="423D67"/>
        </a:solidFill>
      </dgm:spPr>
      <dgm:t>
        <a:bodyPr/>
        <a:lstStyle/>
        <a:p>
          <a:r>
            <a:rPr lang="ru-RU" sz="2400" dirty="0"/>
            <a:t>Банк Рособрнадзора  </a:t>
          </a:r>
        </a:p>
      </dgm:t>
    </dgm:pt>
    <dgm:pt modelId="{D05F1692-8A50-4DB8-815E-51BAFBF0D96C}" type="parTrans" cxnId="{7F935546-D729-41A7-9534-39794537493A}">
      <dgm:prSet/>
      <dgm:spPr/>
      <dgm:t>
        <a:bodyPr/>
        <a:lstStyle/>
        <a:p>
          <a:endParaRPr lang="ru-RU"/>
        </a:p>
      </dgm:t>
    </dgm:pt>
    <dgm:pt modelId="{4D718E4F-7D76-4F0F-B75C-730A79F7B9B1}" type="sibTrans" cxnId="{7F935546-D729-41A7-9534-39794537493A}">
      <dgm:prSet/>
      <dgm:spPr/>
      <dgm:t>
        <a:bodyPr/>
        <a:lstStyle/>
        <a:p>
          <a:endParaRPr lang="ru-RU"/>
        </a:p>
      </dgm:t>
    </dgm:pt>
    <dgm:pt modelId="{6CAD160B-12D0-44CE-817D-17D09FE9E5FE}">
      <dgm:prSet phldrT="[Текст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400" dirty="0"/>
            <a:t>Сортировка по темам </a:t>
          </a:r>
        </a:p>
      </dgm:t>
    </dgm:pt>
    <dgm:pt modelId="{FA772B73-5668-45F7-878B-ED470B43D261}" type="parTrans" cxnId="{D04E0EA5-D193-4889-9315-B45B4A444738}">
      <dgm:prSet/>
      <dgm:spPr/>
      <dgm:t>
        <a:bodyPr/>
        <a:lstStyle/>
        <a:p>
          <a:endParaRPr lang="ru-RU"/>
        </a:p>
      </dgm:t>
    </dgm:pt>
    <dgm:pt modelId="{098F0283-5D05-49BC-8ADD-CFF0A1DD3BC7}" type="sibTrans" cxnId="{D04E0EA5-D193-4889-9315-B45B4A444738}">
      <dgm:prSet/>
      <dgm:spPr/>
      <dgm:t>
        <a:bodyPr/>
        <a:lstStyle/>
        <a:p>
          <a:endParaRPr lang="ru-RU"/>
        </a:p>
      </dgm:t>
    </dgm:pt>
    <dgm:pt modelId="{CFBB3AB1-09D8-4075-877E-731A8AC58446}">
      <dgm:prSet phldrT="[Текст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400" dirty="0"/>
            <a:t>Сортировка по регионам </a:t>
          </a:r>
        </a:p>
      </dgm:t>
    </dgm:pt>
    <dgm:pt modelId="{A723FD2B-5216-4461-B471-80BEEB63C6D2}" type="parTrans" cxnId="{600F78F6-6B6E-430A-878B-EED5B364ABB6}">
      <dgm:prSet/>
      <dgm:spPr/>
      <dgm:t>
        <a:bodyPr/>
        <a:lstStyle/>
        <a:p>
          <a:endParaRPr lang="ru-RU"/>
        </a:p>
      </dgm:t>
    </dgm:pt>
    <dgm:pt modelId="{60DB055F-838A-42B5-802D-F8749B236C6B}" type="sibTrans" cxnId="{600F78F6-6B6E-430A-878B-EED5B364ABB6}">
      <dgm:prSet/>
      <dgm:spPr/>
      <dgm:t>
        <a:bodyPr/>
        <a:lstStyle/>
        <a:p>
          <a:endParaRPr lang="ru-RU"/>
        </a:p>
      </dgm:t>
    </dgm:pt>
    <dgm:pt modelId="{EE989A2F-18BA-4CE2-A2B8-2AE36B5A9609}">
      <dgm:prSet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400" dirty="0"/>
            <a:t>Отправка в РОИВ</a:t>
          </a:r>
        </a:p>
      </dgm:t>
    </dgm:pt>
    <dgm:pt modelId="{5FFE8B39-3A68-488A-A82C-DF857E03445D}" type="parTrans" cxnId="{B364636A-E4C6-4A78-A4FB-53FC0E2CA34F}">
      <dgm:prSet/>
      <dgm:spPr/>
      <dgm:t>
        <a:bodyPr/>
        <a:lstStyle/>
        <a:p>
          <a:endParaRPr lang="ru-RU"/>
        </a:p>
      </dgm:t>
    </dgm:pt>
    <dgm:pt modelId="{5F2E253E-FF20-4D23-A3F5-BE2118B76855}" type="sibTrans" cxnId="{B364636A-E4C6-4A78-A4FB-53FC0E2CA34F}">
      <dgm:prSet/>
      <dgm:spPr/>
      <dgm:t>
        <a:bodyPr/>
        <a:lstStyle/>
        <a:p>
          <a:endParaRPr lang="ru-RU"/>
        </a:p>
      </dgm:t>
    </dgm:pt>
    <dgm:pt modelId="{36C4071E-8F64-460A-A0C8-F111C34DC63F}">
      <dgm:prSet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400" dirty="0"/>
            <a:t>Контроль результата </a:t>
          </a:r>
        </a:p>
      </dgm:t>
    </dgm:pt>
    <dgm:pt modelId="{385E05AC-E181-409B-BF31-E46F44AB9764}" type="parTrans" cxnId="{5AFAACB3-3385-4282-8D86-8603BE76912A}">
      <dgm:prSet/>
      <dgm:spPr/>
      <dgm:t>
        <a:bodyPr/>
        <a:lstStyle/>
        <a:p>
          <a:endParaRPr lang="ru-RU"/>
        </a:p>
      </dgm:t>
    </dgm:pt>
    <dgm:pt modelId="{982DE54B-4512-4D7E-B909-8024789E19AE}" type="sibTrans" cxnId="{5AFAACB3-3385-4282-8D86-8603BE76912A}">
      <dgm:prSet/>
      <dgm:spPr/>
      <dgm:t>
        <a:bodyPr/>
        <a:lstStyle/>
        <a:p>
          <a:endParaRPr lang="ru-RU"/>
        </a:p>
      </dgm:t>
    </dgm:pt>
    <dgm:pt modelId="{0252DAB3-430C-4F48-BF02-A5B04EE9EC23}">
      <dgm:prSet custT="1"/>
      <dgm:spPr>
        <a:solidFill>
          <a:srgbClr val="C00000"/>
        </a:solidFill>
      </dgm:spPr>
      <dgm:t>
        <a:bodyPr/>
        <a:lstStyle/>
        <a:p>
          <a:r>
            <a:rPr lang="ru-RU" sz="2400" dirty="0"/>
            <a:t>Проблема не решена </a:t>
          </a:r>
        </a:p>
      </dgm:t>
    </dgm:pt>
    <dgm:pt modelId="{E5BE86AE-8108-4A9E-A4F6-E5DDF7E5BC65}" type="parTrans" cxnId="{EF718004-78EE-4080-941C-50553FBC564D}">
      <dgm:prSet/>
      <dgm:spPr/>
      <dgm:t>
        <a:bodyPr/>
        <a:lstStyle/>
        <a:p>
          <a:endParaRPr lang="ru-RU"/>
        </a:p>
      </dgm:t>
    </dgm:pt>
    <dgm:pt modelId="{AE0B541B-2619-46FC-967D-4B65C03B07D1}" type="sibTrans" cxnId="{EF718004-78EE-4080-941C-50553FBC564D}">
      <dgm:prSet/>
      <dgm:spPr/>
      <dgm:t>
        <a:bodyPr/>
        <a:lstStyle/>
        <a:p>
          <a:endParaRPr lang="ru-RU"/>
        </a:p>
      </dgm:t>
    </dgm:pt>
    <dgm:pt modelId="{0DD4178D-18E7-432F-B913-CC5E8674AD85}">
      <dgm:prSet custT="1"/>
      <dgm:spPr>
        <a:solidFill>
          <a:srgbClr val="423D67"/>
        </a:solidFill>
      </dgm:spPr>
      <dgm:t>
        <a:bodyPr/>
        <a:lstStyle/>
        <a:p>
          <a:r>
            <a:rPr lang="ru-RU" sz="2400" dirty="0"/>
            <a:t>Рособрнадзор </a:t>
          </a:r>
        </a:p>
      </dgm:t>
    </dgm:pt>
    <dgm:pt modelId="{AACBB2E2-4B84-480F-A1D0-D0F5E9E0867B}" type="parTrans" cxnId="{C857907C-B102-498D-BAAC-B61BE345E243}">
      <dgm:prSet/>
      <dgm:spPr/>
      <dgm:t>
        <a:bodyPr/>
        <a:lstStyle/>
        <a:p>
          <a:endParaRPr lang="ru-RU"/>
        </a:p>
      </dgm:t>
    </dgm:pt>
    <dgm:pt modelId="{3AD723F3-7002-4214-B642-A754D999B3BA}" type="sibTrans" cxnId="{C857907C-B102-498D-BAAC-B61BE345E243}">
      <dgm:prSet/>
      <dgm:spPr/>
      <dgm:t>
        <a:bodyPr/>
        <a:lstStyle/>
        <a:p>
          <a:endParaRPr lang="ru-RU"/>
        </a:p>
      </dgm:t>
    </dgm:pt>
    <dgm:pt modelId="{FAEDAEE8-2FB0-4C9E-B12D-39FD2EEA09AB}" type="pres">
      <dgm:prSet presAssocID="{961304FA-123D-467B-8A7F-D1D9F853E67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227E2903-0E8F-44B6-B45E-C7A92EDE3795}" type="pres">
      <dgm:prSet presAssocID="{3C48F8B0-52EF-4364-944F-CFE7F2622399}" presName="hierRoot1" presStyleCnt="0">
        <dgm:presLayoutVars>
          <dgm:hierBranch val="init"/>
        </dgm:presLayoutVars>
      </dgm:prSet>
      <dgm:spPr/>
    </dgm:pt>
    <dgm:pt modelId="{E736A252-BDCC-4156-833E-1ADCC0B0E53A}" type="pres">
      <dgm:prSet presAssocID="{3C48F8B0-52EF-4364-944F-CFE7F2622399}" presName="rootComposite1" presStyleCnt="0"/>
      <dgm:spPr/>
    </dgm:pt>
    <dgm:pt modelId="{94B9A4D9-1915-4C2A-B50E-452B88CD8BAD}" type="pres">
      <dgm:prSet presAssocID="{3C48F8B0-52EF-4364-944F-CFE7F2622399}" presName="rootText1" presStyleLbl="node0" presStyleIdx="0" presStyleCnt="1" custScaleX="17175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104D8D5-DC8B-4360-AD23-E1678AA7A6EA}" type="pres">
      <dgm:prSet presAssocID="{3C48F8B0-52EF-4364-944F-CFE7F2622399}" presName="rootConnector1" presStyleLbl="node1" presStyleIdx="0" presStyleCnt="0"/>
      <dgm:spPr/>
      <dgm:t>
        <a:bodyPr/>
        <a:lstStyle/>
        <a:p>
          <a:endParaRPr lang="ru-RU"/>
        </a:p>
      </dgm:t>
    </dgm:pt>
    <dgm:pt modelId="{DE4FFE11-C073-4327-996D-7BFB464C45A4}" type="pres">
      <dgm:prSet presAssocID="{3C48F8B0-52EF-4364-944F-CFE7F2622399}" presName="hierChild2" presStyleCnt="0"/>
      <dgm:spPr/>
    </dgm:pt>
    <dgm:pt modelId="{21C9AE70-6F56-4D63-AD53-852F83FAA370}" type="pres">
      <dgm:prSet presAssocID="{FA772B73-5668-45F7-878B-ED470B43D261}" presName="Name37" presStyleLbl="parChTrans1D2" presStyleIdx="0" presStyleCnt="3"/>
      <dgm:spPr/>
      <dgm:t>
        <a:bodyPr/>
        <a:lstStyle/>
        <a:p>
          <a:endParaRPr lang="ru-RU"/>
        </a:p>
      </dgm:t>
    </dgm:pt>
    <dgm:pt modelId="{67E46A76-1A2A-4CB6-B2BB-CBE9ECD34587}" type="pres">
      <dgm:prSet presAssocID="{6CAD160B-12D0-44CE-817D-17D09FE9E5FE}" presName="hierRoot2" presStyleCnt="0">
        <dgm:presLayoutVars>
          <dgm:hierBranch val="init"/>
        </dgm:presLayoutVars>
      </dgm:prSet>
      <dgm:spPr/>
    </dgm:pt>
    <dgm:pt modelId="{4D93DCD1-B708-41D6-89A8-DE93B407755D}" type="pres">
      <dgm:prSet presAssocID="{6CAD160B-12D0-44CE-817D-17D09FE9E5FE}" presName="rootComposite" presStyleCnt="0"/>
      <dgm:spPr/>
    </dgm:pt>
    <dgm:pt modelId="{E7A71232-DD6C-4471-B3C7-8D8DFC7D5D20}" type="pres">
      <dgm:prSet presAssocID="{6CAD160B-12D0-44CE-817D-17D09FE9E5FE}" presName="rootText" presStyleLbl="node2" presStyleIdx="0" presStyleCnt="2" custScaleX="15698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AD62792-9753-49EC-B2EE-C0F764575949}" type="pres">
      <dgm:prSet presAssocID="{6CAD160B-12D0-44CE-817D-17D09FE9E5FE}" presName="rootConnector" presStyleLbl="node2" presStyleIdx="0" presStyleCnt="2"/>
      <dgm:spPr/>
      <dgm:t>
        <a:bodyPr/>
        <a:lstStyle/>
        <a:p>
          <a:endParaRPr lang="ru-RU"/>
        </a:p>
      </dgm:t>
    </dgm:pt>
    <dgm:pt modelId="{524184FC-9F10-4331-BB96-40FE47308F21}" type="pres">
      <dgm:prSet presAssocID="{6CAD160B-12D0-44CE-817D-17D09FE9E5FE}" presName="hierChild4" presStyleCnt="0"/>
      <dgm:spPr/>
    </dgm:pt>
    <dgm:pt modelId="{92542CF4-1C13-46E5-96BF-1B4D2BAF8379}" type="pres">
      <dgm:prSet presAssocID="{6CAD160B-12D0-44CE-817D-17D09FE9E5FE}" presName="hierChild5" presStyleCnt="0"/>
      <dgm:spPr/>
    </dgm:pt>
    <dgm:pt modelId="{31D95A8F-A472-4EC6-B94B-D9918AA44C20}" type="pres">
      <dgm:prSet presAssocID="{A723FD2B-5216-4461-B471-80BEEB63C6D2}" presName="Name37" presStyleLbl="parChTrans1D2" presStyleIdx="1" presStyleCnt="3"/>
      <dgm:spPr/>
      <dgm:t>
        <a:bodyPr/>
        <a:lstStyle/>
        <a:p>
          <a:endParaRPr lang="ru-RU"/>
        </a:p>
      </dgm:t>
    </dgm:pt>
    <dgm:pt modelId="{EF658EDF-970F-44AF-A65D-9D6ED29FA349}" type="pres">
      <dgm:prSet presAssocID="{CFBB3AB1-09D8-4075-877E-731A8AC58446}" presName="hierRoot2" presStyleCnt="0">
        <dgm:presLayoutVars>
          <dgm:hierBranch val="init"/>
        </dgm:presLayoutVars>
      </dgm:prSet>
      <dgm:spPr/>
    </dgm:pt>
    <dgm:pt modelId="{C1FBE83C-FCD9-4957-A9C7-79E5D961AB48}" type="pres">
      <dgm:prSet presAssocID="{CFBB3AB1-09D8-4075-877E-731A8AC58446}" presName="rootComposite" presStyleCnt="0"/>
      <dgm:spPr/>
    </dgm:pt>
    <dgm:pt modelId="{5DC74452-57DD-4D4C-A33A-7915B1B5A127}" type="pres">
      <dgm:prSet presAssocID="{CFBB3AB1-09D8-4075-877E-731A8AC58446}" presName="rootText" presStyleLbl="node2" presStyleIdx="1" presStyleCnt="2" custScaleX="1536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38F0DDE9-6595-42FA-9C4C-A6D181708CC8}" type="pres">
      <dgm:prSet presAssocID="{CFBB3AB1-09D8-4075-877E-731A8AC58446}" presName="rootConnector" presStyleLbl="node2" presStyleIdx="1" presStyleCnt="2"/>
      <dgm:spPr/>
      <dgm:t>
        <a:bodyPr/>
        <a:lstStyle/>
        <a:p>
          <a:endParaRPr lang="ru-RU"/>
        </a:p>
      </dgm:t>
    </dgm:pt>
    <dgm:pt modelId="{6B875C3B-0C14-4EF4-9031-40ECBFE907AE}" type="pres">
      <dgm:prSet presAssocID="{CFBB3AB1-09D8-4075-877E-731A8AC58446}" presName="hierChild4" presStyleCnt="0"/>
      <dgm:spPr/>
    </dgm:pt>
    <dgm:pt modelId="{2A2A3F54-2B77-4E2B-B001-2D8C0E2304DE}" type="pres">
      <dgm:prSet presAssocID="{5FFE8B39-3A68-488A-A82C-DF857E03445D}" presName="Name37" presStyleLbl="parChTrans1D3" presStyleIdx="0" presStyleCnt="1"/>
      <dgm:spPr/>
      <dgm:t>
        <a:bodyPr/>
        <a:lstStyle/>
        <a:p>
          <a:endParaRPr lang="ru-RU"/>
        </a:p>
      </dgm:t>
    </dgm:pt>
    <dgm:pt modelId="{63EDB987-C4F9-47F7-8EBF-8C6B69E05CCA}" type="pres">
      <dgm:prSet presAssocID="{EE989A2F-18BA-4CE2-A2B8-2AE36B5A9609}" presName="hierRoot2" presStyleCnt="0">
        <dgm:presLayoutVars>
          <dgm:hierBranch val="init"/>
        </dgm:presLayoutVars>
      </dgm:prSet>
      <dgm:spPr/>
    </dgm:pt>
    <dgm:pt modelId="{9C8C1180-A738-4089-B1B3-7BDD0EA63212}" type="pres">
      <dgm:prSet presAssocID="{EE989A2F-18BA-4CE2-A2B8-2AE36B5A9609}" presName="rootComposite" presStyleCnt="0"/>
      <dgm:spPr/>
    </dgm:pt>
    <dgm:pt modelId="{08F8D1A6-84B4-4446-A759-18A42B149263}" type="pres">
      <dgm:prSet presAssocID="{EE989A2F-18BA-4CE2-A2B8-2AE36B5A9609}" presName="rootText" presStyleLbl="node3" presStyleIdx="0" presStyleCnt="1" custScaleX="1536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C7466C9-4999-4ABA-B8DC-278D7DE988E1}" type="pres">
      <dgm:prSet presAssocID="{EE989A2F-18BA-4CE2-A2B8-2AE36B5A9609}" presName="rootConnector" presStyleLbl="node3" presStyleIdx="0" presStyleCnt="1"/>
      <dgm:spPr/>
      <dgm:t>
        <a:bodyPr/>
        <a:lstStyle/>
        <a:p>
          <a:endParaRPr lang="ru-RU"/>
        </a:p>
      </dgm:t>
    </dgm:pt>
    <dgm:pt modelId="{119E49DE-2E2D-469A-B16A-986D3F1D6A74}" type="pres">
      <dgm:prSet presAssocID="{EE989A2F-18BA-4CE2-A2B8-2AE36B5A9609}" presName="hierChild4" presStyleCnt="0"/>
      <dgm:spPr/>
    </dgm:pt>
    <dgm:pt modelId="{79CF3D7B-C06D-44AC-AF63-AD87675593F6}" type="pres">
      <dgm:prSet presAssocID="{385E05AC-E181-409B-BF31-E46F44AB9764}" presName="Name37" presStyleLbl="parChTrans1D4" presStyleIdx="0" presStyleCnt="3"/>
      <dgm:spPr/>
      <dgm:t>
        <a:bodyPr/>
        <a:lstStyle/>
        <a:p>
          <a:endParaRPr lang="ru-RU"/>
        </a:p>
      </dgm:t>
    </dgm:pt>
    <dgm:pt modelId="{4030F730-F1C6-4D9D-86A8-72F9427B250F}" type="pres">
      <dgm:prSet presAssocID="{36C4071E-8F64-460A-A0C8-F111C34DC63F}" presName="hierRoot2" presStyleCnt="0">
        <dgm:presLayoutVars>
          <dgm:hierBranch val="init"/>
        </dgm:presLayoutVars>
      </dgm:prSet>
      <dgm:spPr/>
    </dgm:pt>
    <dgm:pt modelId="{CF0DDB7B-0E6A-4689-B191-D1D7BD186402}" type="pres">
      <dgm:prSet presAssocID="{36C4071E-8F64-460A-A0C8-F111C34DC63F}" presName="rootComposite" presStyleCnt="0"/>
      <dgm:spPr/>
    </dgm:pt>
    <dgm:pt modelId="{555970C1-F91D-4BEA-B57E-55A366F41967}" type="pres">
      <dgm:prSet presAssocID="{36C4071E-8F64-460A-A0C8-F111C34DC63F}" presName="rootText" presStyleLbl="node4" presStyleIdx="0" presStyleCnt="3" custScaleX="1536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7703635-4DF5-41DF-A785-F73CB6E4D226}" type="pres">
      <dgm:prSet presAssocID="{36C4071E-8F64-460A-A0C8-F111C34DC63F}" presName="rootConnector" presStyleLbl="node4" presStyleIdx="0" presStyleCnt="3"/>
      <dgm:spPr/>
      <dgm:t>
        <a:bodyPr/>
        <a:lstStyle/>
        <a:p>
          <a:endParaRPr lang="ru-RU"/>
        </a:p>
      </dgm:t>
    </dgm:pt>
    <dgm:pt modelId="{1D07D33D-2234-4180-90B6-F4B6278341BD}" type="pres">
      <dgm:prSet presAssocID="{36C4071E-8F64-460A-A0C8-F111C34DC63F}" presName="hierChild4" presStyleCnt="0"/>
      <dgm:spPr/>
    </dgm:pt>
    <dgm:pt modelId="{33227BA0-D4A8-4B16-B356-887C116FEC3A}" type="pres">
      <dgm:prSet presAssocID="{E5BE86AE-8108-4A9E-A4F6-E5DDF7E5BC65}" presName="Name37" presStyleLbl="parChTrans1D4" presStyleIdx="1" presStyleCnt="3"/>
      <dgm:spPr/>
      <dgm:t>
        <a:bodyPr/>
        <a:lstStyle/>
        <a:p>
          <a:endParaRPr lang="ru-RU"/>
        </a:p>
      </dgm:t>
    </dgm:pt>
    <dgm:pt modelId="{4E7CE246-A7D0-48BE-8AF5-0620C3A311EA}" type="pres">
      <dgm:prSet presAssocID="{0252DAB3-430C-4F48-BF02-A5B04EE9EC23}" presName="hierRoot2" presStyleCnt="0">
        <dgm:presLayoutVars>
          <dgm:hierBranch val="init"/>
        </dgm:presLayoutVars>
      </dgm:prSet>
      <dgm:spPr/>
    </dgm:pt>
    <dgm:pt modelId="{954D01BD-D384-4A80-B2B2-D53C9C6A5258}" type="pres">
      <dgm:prSet presAssocID="{0252DAB3-430C-4F48-BF02-A5B04EE9EC23}" presName="rootComposite" presStyleCnt="0"/>
      <dgm:spPr/>
    </dgm:pt>
    <dgm:pt modelId="{3FF1D505-F108-44CF-B2D4-9F98D796A4D0}" type="pres">
      <dgm:prSet presAssocID="{0252DAB3-430C-4F48-BF02-A5B04EE9EC23}" presName="rootText" presStyleLbl="node4" presStyleIdx="1" presStyleCnt="3" custScaleX="1536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A1BAC47-8D16-4FD5-8D0A-BF9C1FDC22C9}" type="pres">
      <dgm:prSet presAssocID="{0252DAB3-430C-4F48-BF02-A5B04EE9EC23}" presName="rootConnector" presStyleLbl="node4" presStyleIdx="1" presStyleCnt="3"/>
      <dgm:spPr/>
      <dgm:t>
        <a:bodyPr/>
        <a:lstStyle/>
        <a:p>
          <a:endParaRPr lang="ru-RU"/>
        </a:p>
      </dgm:t>
    </dgm:pt>
    <dgm:pt modelId="{E3454E01-0C05-4308-A0AF-AA68E8086BAF}" type="pres">
      <dgm:prSet presAssocID="{0252DAB3-430C-4F48-BF02-A5B04EE9EC23}" presName="hierChild4" presStyleCnt="0"/>
      <dgm:spPr/>
    </dgm:pt>
    <dgm:pt modelId="{A407D757-7DAA-49BC-A28A-32088A4E6740}" type="pres">
      <dgm:prSet presAssocID="{AACBB2E2-4B84-480F-A1D0-D0F5E9E0867B}" presName="Name37" presStyleLbl="parChTrans1D4" presStyleIdx="2" presStyleCnt="3"/>
      <dgm:spPr/>
      <dgm:t>
        <a:bodyPr/>
        <a:lstStyle/>
        <a:p>
          <a:endParaRPr lang="ru-RU"/>
        </a:p>
      </dgm:t>
    </dgm:pt>
    <dgm:pt modelId="{CE22FF57-264B-4A9D-9C62-913969710ACF}" type="pres">
      <dgm:prSet presAssocID="{0DD4178D-18E7-432F-B913-CC5E8674AD85}" presName="hierRoot2" presStyleCnt="0">
        <dgm:presLayoutVars>
          <dgm:hierBranch val="init"/>
        </dgm:presLayoutVars>
      </dgm:prSet>
      <dgm:spPr/>
    </dgm:pt>
    <dgm:pt modelId="{855AD13B-34DC-48C2-8B0B-E726A4F63701}" type="pres">
      <dgm:prSet presAssocID="{0DD4178D-18E7-432F-B913-CC5E8674AD85}" presName="rootComposite" presStyleCnt="0"/>
      <dgm:spPr/>
    </dgm:pt>
    <dgm:pt modelId="{4B641B23-6DF0-4FB2-852F-8EEC5B82E9FD}" type="pres">
      <dgm:prSet presAssocID="{0DD4178D-18E7-432F-B913-CC5E8674AD85}" presName="rootText" presStyleLbl="node4" presStyleIdx="2" presStyleCnt="3" custScaleX="15706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33AC2EF-B5E5-4517-88A0-A3F5C28E9098}" type="pres">
      <dgm:prSet presAssocID="{0DD4178D-18E7-432F-B913-CC5E8674AD85}" presName="rootConnector" presStyleLbl="node4" presStyleIdx="2" presStyleCnt="3"/>
      <dgm:spPr/>
      <dgm:t>
        <a:bodyPr/>
        <a:lstStyle/>
        <a:p>
          <a:endParaRPr lang="ru-RU"/>
        </a:p>
      </dgm:t>
    </dgm:pt>
    <dgm:pt modelId="{AAF4BCF7-EEC7-4EF6-ABC1-64D407DC5335}" type="pres">
      <dgm:prSet presAssocID="{0DD4178D-18E7-432F-B913-CC5E8674AD85}" presName="hierChild4" presStyleCnt="0"/>
      <dgm:spPr/>
    </dgm:pt>
    <dgm:pt modelId="{1E864168-098E-4C9E-A8EC-282760C2DBFD}" type="pres">
      <dgm:prSet presAssocID="{0DD4178D-18E7-432F-B913-CC5E8674AD85}" presName="hierChild5" presStyleCnt="0"/>
      <dgm:spPr/>
    </dgm:pt>
    <dgm:pt modelId="{F644338E-CF12-45F7-820F-0EDF6254DF84}" type="pres">
      <dgm:prSet presAssocID="{0252DAB3-430C-4F48-BF02-A5B04EE9EC23}" presName="hierChild5" presStyleCnt="0"/>
      <dgm:spPr/>
    </dgm:pt>
    <dgm:pt modelId="{4F7E3EED-CBCF-441B-8DF6-B9632A5510BA}" type="pres">
      <dgm:prSet presAssocID="{36C4071E-8F64-460A-A0C8-F111C34DC63F}" presName="hierChild5" presStyleCnt="0"/>
      <dgm:spPr/>
    </dgm:pt>
    <dgm:pt modelId="{F0D85855-93FA-4E4D-859A-96CC76640165}" type="pres">
      <dgm:prSet presAssocID="{EE989A2F-18BA-4CE2-A2B8-2AE36B5A9609}" presName="hierChild5" presStyleCnt="0"/>
      <dgm:spPr/>
    </dgm:pt>
    <dgm:pt modelId="{B70E435C-1938-4693-9A64-79AC0CCA1F7B}" type="pres">
      <dgm:prSet presAssocID="{CFBB3AB1-09D8-4075-877E-731A8AC58446}" presName="hierChild5" presStyleCnt="0"/>
      <dgm:spPr/>
    </dgm:pt>
    <dgm:pt modelId="{0DAE499C-450D-4C68-9D23-2D9CB0B06C81}" type="pres">
      <dgm:prSet presAssocID="{3C48F8B0-52EF-4364-944F-CFE7F2622399}" presName="hierChild3" presStyleCnt="0"/>
      <dgm:spPr/>
    </dgm:pt>
    <dgm:pt modelId="{1C449442-8C33-4B57-BEA7-B9654F014B07}" type="pres">
      <dgm:prSet presAssocID="{D05F1692-8A50-4DB8-815E-51BAFBF0D96C}" presName="Name111" presStyleLbl="parChTrans1D2" presStyleIdx="2" presStyleCnt="3"/>
      <dgm:spPr/>
      <dgm:t>
        <a:bodyPr/>
        <a:lstStyle/>
        <a:p>
          <a:endParaRPr lang="ru-RU"/>
        </a:p>
      </dgm:t>
    </dgm:pt>
    <dgm:pt modelId="{E493EAC6-A3D1-4593-9861-330DB1699FF4}" type="pres">
      <dgm:prSet presAssocID="{DBCC19AE-9578-4314-BE29-F3B0D030D416}" presName="hierRoot3" presStyleCnt="0">
        <dgm:presLayoutVars>
          <dgm:hierBranch val="init"/>
        </dgm:presLayoutVars>
      </dgm:prSet>
      <dgm:spPr/>
    </dgm:pt>
    <dgm:pt modelId="{FB62521E-C4D6-43D7-BCE1-B5CDA8760C6B}" type="pres">
      <dgm:prSet presAssocID="{DBCC19AE-9578-4314-BE29-F3B0D030D416}" presName="rootComposite3" presStyleCnt="0"/>
      <dgm:spPr/>
    </dgm:pt>
    <dgm:pt modelId="{E0B8EAC7-F880-4316-8AD8-B2B956CD5CA7}" type="pres">
      <dgm:prSet presAssocID="{DBCC19AE-9578-4314-BE29-F3B0D030D416}" presName="rootText3" presStyleLbl="asst1" presStyleIdx="0" presStyleCnt="1" custScaleX="17109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113A79F-4148-45EA-B0CC-FC76480F9FD7}" type="pres">
      <dgm:prSet presAssocID="{DBCC19AE-9578-4314-BE29-F3B0D030D416}" presName="rootConnector3" presStyleLbl="asst1" presStyleIdx="0" presStyleCnt="1"/>
      <dgm:spPr/>
      <dgm:t>
        <a:bodyPr/>
        <a:lstStyle/>
        <a:p>
          <a:endParaRPr lang="ru-RU"/>
        </a:p>
      </dgm:t>
    </dgm:pt>
    <dgm:pt modelId="{C8A10507-3192-4C7F-9AC8-4404142E6DA9}" type="pres">
      <dgm:prSet presAssocID="{DBCC19AE-9578-4314-BE29-F3B0D030D416}" presName="hierChild6" presStyleCnt="0"/>
      <dgm:spPr/>
    </dgm:pt>
    <dgm:pt modelId="{EE50D89A-B4AD-4C3E-93AF-2F77724FC06B}" type="pres">
      <dgm:prSet presAssocID="{DBCC19AE-9578-4314-BE29-F3B0D030D416}" presName="hierChild7" presStyleCnt="0"/>
      <dgm:spPr/>
    </dgm:pt>
  </dgm:ptLst>
  <dgm:cxnLst>
    <dgm:cxn modelId="{F62DD092-7B28-48F1-A7D7-B2FB2D9463FA}" type="presOf" srcId="{385E05AC-E181-409B-BF31-E46F44AB9764}" destId="{79CF3D7B-C06D-44AC-AF63-AD87675593F6}" srcOrd="0" destOrd="0" presId="urn:microsoft.com/office/officeart/2005/8/layout/orgChart1"/>
    <dgm:cxn modelId="{B364636A-E4C6-4A78-A4FB-53FC0E2CA34F}" srcId="{CFBB3AB1-09D8-4075-877E-731A8AC58446}" destId="{EE989A2F-18BA-4CE2-A2B8-2AE36B5A9609}" srcOrd="0" destOrd="0" parTransId="{5FFE8B39-3A68-488A-A82C-DF857E03445D}" sibTransId="{5F2E253E-FF20-4D23-A3F5-BE2118B76855}"/>
    <dgm:cxn modelId="{8F3011F3-019E-4CB9-96DA-E044E3DC4B4D}" type="presOf" srcId="{3C48F8B0-52EF-4364-944F-CFE7F2622399}" destId="{94B9A4D9-1915-4C2A-B50E-452B88CD8BAD}" srcOrd="0" destOrd="0" presId="urn:microsoft.com/office/officeart/2005/8/layout/orgChart1"/>
    <dgm:cxn modelId="{8CBBED40-7C6F-4E2A-901C-BA8AC1C0D054}" srcId="{961304FA-123D-467B-8A7F-D1D9F853E670}" destId="{3C48F8B0-52EF-4364-944F-CFE7F2622399}" srcOrd="0" destOrd="0" parTransId="{25A8CA7D-FFCC-4E91-BB6E-2DFD0395D795}" sibTransId="{13CCB663-7F8E-4EF0-B348-C3112ACD63CE}"/>
    <dgm:cxn modelId="{EC099806-C10C-4D9E-9495-92AA1349F061}" type="presOf" srcId="{FA772B73-5668-45F7-878B-ED470B43D261}" destId="{21C9AE70-6F56-4D63-AD53-852F83FAA370}" srcOrd="0" destOrd="0" presId="urn:microsoft.com/office/officeart/2005/8/layout/orgChart1"/>
    <dgm:cxn modelId="{24CAE9BA-D908-4A22-8CAB-43C35F47D90B}" type="presOf" srcId="{CFBB3AB1-09D8-4075-877E-731A8AC58446}" destId="{38F0DDE9-6595-42FA-9C4C-A6D181708CC8}" srcOrd="1" destOrd="0" presId="urn:microsoft.com/office/officeart/2005/8/layout/orgChart1"/>
    <dgm:cxn modelId="{600F78F6-6B6E-430A-878B-EED5B364ABB6}" srcId="{3C48F8B0-52EF-4364-944F-CFE7F2622399}" destId="{CFBB3AB1-09D8-4075-877E-731A8AC58446}" srcOrd="2" destOrd="0" parTransId="{A723FD2B-5216-4461-B471-80BEEB63C6D2}" sibTransId="{60DB055F-838A-42B5-802D-F8749B236C6B}"/>
    <dgm:cxn modelId="{45CFCE92-7C3D-4E41-BE31-01DEED2CBEB4}" type="presOf" srcId="{CFBB3AB1-09D8-4075-877E-731A8AC58446}" destId="{5DC74452-57DD-4D4C-A33A-7915B1B5A127}" srcOrd="0" destOrd="0" presId="urn:microsoft.com/office/officeart/2005/8/layout/orgChart1"/>
    <dgm:cxn modelId="{C857907C-B102-498D-BAAC-B61BE345E243}" srcId="{0252DAB3-430C-4F48-BF02-A5B04EE9EC23}" destId="{0DD4178D-18E7-432F-B913-CC5E8674AD85}" srcOrd="0" destOrd="0" parTransId="{AACBB2E2-4B84-480F-A1D0-D0F5E9E0867B}" sibTransId="{3AD723F3-7002-4214-B642-A754D999B3BA}"/>
    <dgm:cxn modelId="{6C6F27B5-81ED-4477-B26D-92960C809E3B}" type="presOf" srcId="{DBCC19AE-9578-4314-BE29-F3B0D030D416}" destId="{D113A79F-4148-45EA-B0CC-FC76480F9FD7}" srcOrd="1" destOrd="0" presId="urn:microsoft.com/office/officeart/2005/8/layout/orgChart1"/>
    <dgm:cxn modelId="{DF739A8E-5765-4958-80DD-E283D648432A}" type="presOf" srcId="{36C4071E-8F64-460A-A0C8-F111C34DC63F}" destId="{07703635-4DF5-41DF-A785-F73CB6E4D226}" srcOrd="1" destOrd="0" presId="urn:microsoft.com/office/officeart/2005/8/layout/orgChart1"/>
    <dgm:cxn modelId="{6F812D2A-CF9C-4CDD-A333-A9DCE1408026}" type="presOf" srcId="{D05F1692-8A50-4DB8-815E-51BAFBF0D96C}" destId="{1C449442-8C33-4B57-BEA7-B9654F014B07}" srcOrd="0" destOrd="0" presId="urn:microsoft.com/office/officeart/2005/8/layout/orgChart1"/>
    <dgm:cxn modelId="{88CF4843-5A4F-468A-B3F9-B3EC80488C50}" type="presOf" srcId="{A723FD2B-5216-4461-B471-80BEEB63C6D2}" destId="{31D95A8F-A472-4EC6-B94B-D9918AA44C20}" srcOrd="0" destOrd="0" presId="urn:microsoft.com/office/officeart/2005/8/layout/orgChart1"/>
    <dgm:cxn modelId="{91204BC2-C2B0-443E-98EF-15A6892AE98F}" type="presOf" srcId="{5FFE8B39-3A68-488A-A82C-DF857E03445D}" destId="{2A2A3F54-2B77-4E2B-B001-2D8C0E2304DE}" srcOrd="0" destOrd="0" presId="urn:microsoft.com/office/officeart/2005/8/layout/orgChart1"/>
    <dgm:cxn modelId="{CAC0869E-ACAF-4590-AB9F-324071ECD166}" type="presOf" srcId="{0252DAB3-430C-4F48-BF02-A5B04EE9EC23}" destId="{3FF1D505-F108-44CF-B2D4-9F98D796A4D0}" srcOrd="0" destOrd="0" presId="urn:microsoft.com/office/officeart/2005/8/layout/orgChart1"/>
    <dgm:cxn modelId="{CF61C55D-FBD0-435F-AA2A-603D86453221}" type="presOf" srcId="{3C48F8B0-52EF-4364-944F-CFE7F2622399}" destId="{4104D8D5-DC8B-4360-AD23-E1678AA7A6EA}" srcOrd="1" destOrd="0" presId="urn:microsoft.com/office/officeart/2005/8/layout/orgChart1"/>
    <dgm:cxn modelId="{D04E0EA5-D193-4889-9315-B45B4A444738}" srcId="{3C48F8B0-52EF-4364-944F-CFE7F2622399}" destId="{6CAD160B-12D0-44CE-817D-17D09FE9E5FE}" srcOrd="1" destOrd="0" parTransId="{FA772B73-5668-45F7-878B-ED470B43D261}" sibTransId="{098F0283-5D05-49BC-8ADD-CFF0A1DD3BC7}"/>
    <dgm:cxn modelId="{EF718004-78EE-4080-941C-50553FBC564D}" srcId="{36C4071E-8F64-460A-A0C8-F111C34DC63F}" destId="{0252DAB3-430C-4F48-BF02-A5B04EE9EC23}" srcOrd="0" destOrd="0" parTransId="{E5BE86AE-8108-4A9E-A4F6-E5DDF7E5BC65}" sibTransId="{AE0B541B-2619-46FC-967D-4B65C03B07D1}"/>
    <dgm:cxn modelId="{B7B5D39E-25CB-4AC8-A535-CD344897BB1C}" type="presOf" srcId="{AACBB2E2-4B84-480F-A1D0-D0F5E9E0867B}" destId="{A407D757-7DAA-49BC-A28A-32088A4E6740}" srcOrd="0" destOrd="0" presId="urn:microsoft.com/office/officeart/2005/8/layout/orgChart1"/>
    <dgm:cxn modelId="{A87D90EE-997C-4DE3-8028-9FBE868FE053}" type="presOf" srcId="{DBCC19AE-9578-4314-BE29-F3B0D030D416}" destId="{E0B8EAC7-F880-4316-8AD8-B2B956CD5CA7}" srcOrd="0" destOrd="0" presId="urn:microsoft.com/office/officeart/2005/8/layout/orgChart1"/>
    <dgm:cxn modelId="{C2B7189D-7B28-4DC8-B0A9-6C9C988E92A2}" type="presOf" srcId="{EE989A2F-18BA-4CE2-A2B8-2AE36B5A9609}" destId="{08F8D1A6-84B4-4446-A759-18A42B149263}" srcOrd="0" destOrd="0" presId="urn:microsoft.com/office/officeart/2005/8/layout/orgChart1"/>
    <dgm:cxn modelId="{22ED0DFD-13FC-4E73-A439-EE1792F84418}" type="presOf" srcId="{961304FA-123D-467B-8A7F-D1D9F853E670}" destId="{FAEDAEE8-2FB0-4C9E-B12D-39FD2EEA09AB}" srcOrd="0" destOrd="0" presId="urn:microsoft.com/office/officeart/2005/8/layout/orgChart1"/>
    <dgm:cxn modelId="{2A456DDA-FFF1-409D-8EE2-63263FE3F845}" type="presOf" srcId="{6CAD160B-12D0-44CE-817D-17D09FE9E5FE}" destId="{9AD62792-9753-49EC-B2EE-C0F764575949}" srcOrd="1" destOrd="0" presId="urn:microsoft.com/office/officeart/2005/8/layout/orgChart1"/>
    <dgm:cxn modelId="{7F935546-D729-41A7-9534-39794537493A}" srcId="{3C48F8B0-52EF-4364-944F-CFE7F2622399}" destId="{DBCC19AE-9578-4314-BE29-F3B0D030D416}" srcOrd="0" destOrd="0" parTransId="{D05F1692-8A50-4DB8-815E-51BAFBF0D96C}" sibTransId="{4D718E4F-7D76-4F0F-B75C-730A79F7B9B1}"/>
    <dgm:cxn modelId="{5AFAACB3-3385-4282-8D86-8603BE76912A}" srcId="{EE989A2F-18BA-4CE2-A2B8-2AE36B5A9609}" destId="{36C4071E-8F64-460A-A0C8-F111C34DC63F}" srcOrd="0" destOrd="0" parTransId="{385E05AC-E181-409B-BF31-E46F44AB9764}" sibTransId="{982DE54B-4512-4D7E-B909-8024789E19AE}"/>
    <dgm:cxn modelId="{17081AEC-93E3-492B-9B11-DFEBD9B8C155}" type="presOf" srcId="{0DD4178D-18E7-432F-B913-CC5E8674AD85}" destId="{A33AC2EF-B5E5-4517-88A0-A3F5C28E9098}" srcOrd="1" destOrd="0" presId="urn:microsoft.com/office/officeart/2005/8/layout/orgChart1"/>
    <dgm:cxn modelId="{F93AFF74-788D-45E4-A7FE-4E79F26B0191}" type="presOf" srcId="{EE989A2F-18BA-4CE2-A2B8-2AE36B5A9609}" destId="{2C7466C9-4999-4ABA-B8DC-278D7DE988E1}" srcOrd="1" destOrd="0" presId="urn:microsoft.com/office/officeart/2005/8/layout/orgChart1"/>
    <dgm:cxn modelId="{CF7A0C48-B2FD-4D79-ACEA-B34FD934B194}" type="presOf" srcId="{E5BE86AE-8108-4A9E-A4F6-E5DDF7E5BC65}" destId="{33227BA0-D4A8-4B16-B356-887C116FEC3A}" srcOrd="0" destOrd="0" presId="urn:microsoft.com/office/officeart/2005/8/layout/orgChart1"/>
    <dgm:cxn modelId="{B2304EBB-3F16-4D8F-95F5-96C5A6372B08}" type="presOf" srcId="{36C4071E-8F64-460A-A0C8-F111C34DC63F}" destId="{555970C1-F91D-4BEA-B57E-55A366F41967}" srcOrd="0" destOrd="0" presId="urn:microsoft.com/office/officeart/2005/8/layout/orgChart1"/>
    <dgm:cxn modelId="{6F27542A-8F01-4EE2-9CFA-EC1C15935210}" type="presOf" srcId="{0252DAB3-430C-4F48-BF02-A5B04EE9EC23}" destId="{5A1BAC47-8D16-4FD5-8D0A-BF9C1FDC22C9}" srcOrd="1" destOrd="0" presId="urn:microsoft.com/office/officeart/2005/8/layout/orgChart1"/>
    <dgm:cxn modelId="{D8D1A91A-954E-4442-B158-7C49BF05A915}" type="presOf" srcId="{0DD4178D-18E7-432F-B913-CC5E8674AD85}" destId="{4B641B23-6DF0-4FB2-852F-8EEC5B82E9FD}" srcOrd="0" destOrd="0" presId="urn:microsoft.com/office/officeart/2005/8/layout/orgChart1"/>
    <dgm:cxn modelId="{DE8B3161-CDAD-4F1C-908C-754175143BE1}" type="presOf" srcId="{6CAD160B-12D0-44CE-817D-17D09FE9E5FE}" destId="{E7A71232-DD6C-4471-B3C7-8D8DFC7D5D20}" srcOrd="0" destOrd="0" presId="urn:microsoft.com/office/officeart/2005/8/layout/orgChart1"/>
    <dgm:cxn modelId="{12A4CCF7-4948-4198-8DB0-727A9536C38F}" type="presParOf" srcId="{FAEDAEE8-2FB0-4C9E-B12D-39FD2EEA09AB}" destId="{227E2903-0E8F-44B6-B45E-C7A92EDE3795}" srcOrd="0" destOrd="0" presId="urn:microsoft.com/office/officeart/2005/8/layout/orgChart1"/>
    <dgm:cxn modelId="{67027538-39C2-426A-86B3-6AF05F1C42E5}" type="presParOf" srcId="{227E2903-0E8F-44B6-B45E-C7A92EDE3795}" destId="{E736A252-BDCC-4156-833E-1ADCC0B0E53A}" srcOrd="0" destOrd="0" presId="urn:microsoft.com/office/officeart/2005/8/layout/orgChart1"/>
    <dgm:cxn modelId="{37B1A062-2E23-430E-8A89-0C52CDB38B64}" type="presParOf" srcId="{E736A252-BDCC-4156-833E-1ADCC0B0E53A}" destId="{94B9A4D9-1915-4C2A-B50E-452B88CD8BAD}" srcOrd="0" destOrd="0" presId="urn:microsoft.com/office/officeart/2005/8/layout/orgChart1"/>
    <dgm:cxn modelId="{D71E3DB8-B213-4844-B4F5-04ACC0F3A533}" type="presParOf" srcId="{E736A252-BDCC-4156-833E-1ADCC0B0E53A}" destId="{4104D8D5-DC8B-4360-AD23-E1678AA7A6EA}" srcOrd="1" destOrd="0" presId="urn:microsoft.com/office/officeart/2005/8/layout/orgChart1"/>
    <dgm:cxn modelId="{372E08DC-00A9-4DB8-A643-4C38C705972C}" type="presParOf" srcId="{227E2903-0E8F-44B6-B45E-C7A92EDE3795}" destId="{DE4FFE11-C073-4327-996D-7BFB464C45A4}" srcOrd="1" destOrd="0" presId="urn:microsoft.com/office/officeart/2005/8/layout/orgChart1"/>
    <dgm:cxn modelId="{91E63927-F7F1-4814-AF64-BFE41CF05721}" type="presParOf" srcId="{DE4FFE11-C073-4327-996D-7BFB464C45A4}" destId="{21C9AE70-6F56-4D63-AD53-852F83FAA370}" srcOrd="0" destOrd="0" presId="urn:microsoft.com/office/officeart/2005/8/layout/orgChart1"/>
    <dgm:cxn modelId="{394D4BC8-071A-4CAE-BF33-E13660957186}" type="presParOf" srcId="{DE4FFE11-C073-4327-996D-7BFB464C45A4}" destId="{67E46A76-1A2A-4CB6-B2BB-CBE9ECD34587}" srcOrd="1" destOrd="0" presId="urn:microsoft.com/office/officeart/2005/8/layout/orgChart1"/>
    <dgm:cxn modelId="{98FDA1D5-9D65-4699-A392-354F749CC4A4}" type="presParOf" srcId="{67E46A76-1A2A-4CB6-B2BB-CBE9ECD34587}" destId="{4D93DCD1-B708-41D6-89A8-DE93B407755D}" srcOrd="0" destOrd="0" presId="urn:microsoft.com/office/officeart/2005/8/layout/orgChart1"/>
    <dgm:cxn modelId="{9A8DBB9D-5907-471F-812D-A5B5BF0034F8}" type="presParOf" srcId="{4D93DCD1-B708-41D6-89A8-DE93B407755D}" destId="{E7A71232-DD6C-4471-B3C7-8D8DFC7D5D20}" srcOrd="0" destOrd="0" presId="urn:microsoft.com/office/officeart/2005/8/layout/orgChart1"/>
    <dgm:cxn modelId="{263DB3A6-1697-4629-941F-FC7505F8CC11}" type="presParOf" srcId="{4D93DCD1-B708-41D6-89A8-DE93B407755D}" destId="{9AD62792-9753-49EC-B2EE-C0F764575949}" srcOrd="1" destOrd="0" presId="urn:microsoft.com/office/officeart/2005/8/layout/orgChart1"/>
    <dgm:cxn modelId="{3EAE26B5-E3D1-4F0C-B995-575E12B66709}" type="presParOf" srcId="{67E46A76-1A2A-4CB6-B2BB-CBE9ECD34587}" destId="{524184FC-9F10-4331-BB96-40FE47308F21}" srcOrd="1" destOrd="0" presId="urn:microsoft.com/office/officeart/2005/8/layout/orgChart1"/>
    <dgm:cxn modelId="{646AA595-A5DA-4BE2-B806-4BBD34628C63}" type="presParOf" srcId="{67E46A76-1A2A-4CB6-B2BB-CBE9ECD34587}" destId="{92542CF4-1C13-46E5-96BF-1B4D2BAF8379}" srcOrd="2" destOrd="0" presId="urn:microsoft.com/office/officeart/2005/8/layout/orgChart1"/>
    <dgm:cxn modelId="{55AA442D-D76E-488D-8247-A5C0C0810031}" type="presParOf" srcId="{DE4FFE11-C073-4327-996D-7BFB464C45A4}" destId="{31D95A8F-A472-4EC6-B94B-D9918AA44C20}" srcOrd="2" destOrd="0" presId="urn:microsoft.com/office/officeart/2005/8/layout/orgChart1"/>
    <dgm:cxn modelId="{1A866B75-78F2-4CD0-943B-2597A07EC862}" type="presParOf" srcId="{DE4FFE11-C073-4327-996D-7BFB464C45A4}" destId="{EF658EDF-970F-44AF-A65D-9D6ED29FA349}" srcOrd="3" destOrd="0" presId="urn:microsoft.com/office/officeart/2005/8/layout/orgChart1"/>
    <dgm:cxn modelId="{14D76660-FED5-41BE-8C77-7B01024ECA9C}" type="presParOf" srcId="{EF658EDF-970F-44AF-A65D-9D6ED29FA349}" destId="{C1FBE83C-FCD9-4957-A9C7-79E5D961AB48}" srcOrd="0" destOrd="0" presId="urn:microsoft.com/office/officeart/2005/8/layout/orgChart1"/>
    <dgm:cxn modelId="{D2F5B0FA-D9C7-439C-A12A-FEBEBE0554BA}" type="presParOf" srcId="{C1FBE83C-FCD9-4957-A9C7-79E5D961AB48}" destId="{5DC74452-57DD-4D4C-A33A-7915B1B5A127}" srcOrd="0" destOrd="0" presId="urn:microsoft.com/office/officeart/2005/8/layout/orgChart1"/>
    <dgm:cxn modelId="{AD31DBDB-C1A2-41CE-BB78-DCE3F02DDB46}" type="presParOf" srcId="{C1FBE83C-FCD9-4957-A9C7-79E5D961AB48}" destId="{38F0DDE9-6595-42FA-9C4C-A6D181708CC8}" srcOrd="1" destOrd="0" presId="urn:microsoft.com/office/officeart/2005/8/layout/orgChart1"/>
    <dgm:cxn modelId="{BBEFA873-C529-4B64-8063-164B64770A06}" type="presParOf" srcId="{EF658EDF-970F-44AF-A65D-9D6ED29FA349}" destId="{6B875C3B-0C14-4EF4-9031-40ECBFE907AE}" srcOrd="1" destOrd="0" presId="urn:microsoft.com/office/officeart/2005/8/layout/orgChart1"/>
    <dgm:cxn modelId="{C00F4AC0-C8D5-498E-96A5-3DBEF79951FE}" type="presParOf" srcId="{6B875C3B-0C14-4EF4-9031-40ECBFE907AE}" destId="{2A2A3F54-2B77-4E2B-B001-2D8C0E2304DE}" srcOrd="0" destOrd="0" presId="urn:microsoft.com/office/officeart/2005/8/layout/orgChart1"/>
    <dgm:cxn modelId="{1194E8A5-F3A7-4726-BE0D-6A03C138185B}" type="presParOf" srcId="{6B875C3B-0C14-4EF4-9031-40ECBFE907AE}" destId="{63EDB987-C4F9-47F7-8EBF-8C6B69E05CCA}" srcOrd="1" destOrd="0" presId="urn:microsoft.com/office/officeart/2005/8/layout/orgChart1"/>
    <dgm:cxn modelId="{003D7C16-6516-43EE-ADF3-3952816B973F}" type="presParOf" srcId="{63EDB987-C4F9-47F7-8EBF-8C6B69E05CCA}" destId="{9C8C1180-A738-4089-B1B3-7BDD0EA63212}" srcOrd="0" destOrd="0" presId="urn:microsoft.com/office/officeart/2005/8/layout/orgChart1"/>
    <dgm:cxn modelId="{FB54B177-5223-4876-9D03-20CA2D562FDF}" type="presParOf" srcId="{9C8C1180-A738-4089-B1B3-7BDD0EA63212}" destId="{08F8D1A6-84B4-4446-A759-18A42B149263}" srcOrd="0" destOrd="0" presId="urn:microsoft.com/office/officeart/2005/8/layout/orgChart1"/>
    <dgm:cxn modelId="{35247518-A15F-41D1-A8AD-6CFF01A003DC}" type="presParOf" srcId="{9C8C1180-A738-4089-B1B3-7BDD0EA63212}" destId="{2C7466C9-4999-4ABA-B8DC-278D7DE988E1}" srcOrd="1" destOrd="0" presId="urn:microsoft.com/office/officeart/2005/8/layout/orgChart1"/>
    <dgm:cxn modelId="{85936F73-8FF7-4CC3-BF7A-F243E050EE13}" type="presParOf" srcId="{63EDB987-C4F9-47F7-8EBF-8C6B69E05CCA}" destId="{119E49DE-2E2D-469A-B16A-986D3F1D6A74}" srcOrd="1" destOrd="0" presId="urn:microsoft.com/office/officeart/2005/8/layout/orgChart1"/>
    <dgm:cxn modelId="{10C7C67D-4184-40CC-AA8E-3CE500B5DCE0}" type="presParOf" srcId="{119E49DE-2E2D-469A-B16A-986D3F1D6A74}" destId="{79CF3D7B-C06D-44AC-AF63-AD87675593F6}" srcOrd="0" destOrd="0" presId="urn:microsoft.com/office/officeart/2005/8/layout/orgChart1"/>
    <dgm:cxn modelId="{65C28605-725E-4001-89B6-5F8EF7C9C531}" type="presParOf" srcId="{119E49DE-2E2D-469A-B16A-986D3F1D6A74}" destId="{4030F730-F1C6-4D9D-86A8-72F9427B250F}" srcOrd="1" destOrd="0" presId="urn:microsoft.com/office/officeart/2005/8/layout/orgChart1"/>
    <dgm:cxn modelId="{5AB04BE7-EEC7-4041-91EB-33B6A5FACC85}" type="presParOf" srcId="{4030F730-F1C6-4D9D-86A8-72F9427B250F}" destId="{CF0DDB7B-0E6A-4689-B191-D1D7BD186402}" srcOrd="0" destOrd="0" presId="urn:microsoft.com/office/officeart/2005/8/layout/orgChart1"/>
    <dgm:cxn modelId="{BFE3D4DF-D158-4E5A-A676-EBCA46450D03}" type="presParOf" srcId="{CF0DDB7B-0E6A-4689-B191-D1D7BD186402}" destId="{555970C1-F91D-4BEA-B57E-55A366F41967}" srcOrd="0" destOrd="0" presId="urn:microsoft.com/office/officeart/2005/8/layout/orgChart1"/>
    <dgm:cxn modelId="{F67F4533-BF75-46CB-9190-69DFE625D58B}" type="presParOf" srcId="{CF0DDB7B-0E6A-4689-B191-D1D7BD186402}" destId="{07703635-4DF5-41DF-A785-F73CB6E4D226}" srcOrd="1" destOrd="0" presId="urn:microsoft.com/office/officeart/2005/8/layout/orgChart1"/>
    <dgm:cxn modelId="{5436CCFD-2E36-41C1-B4D1-CED9801B306F}" type="presParOf" srcId="{4030F730-F1C6-4D9D-86A8-72F9427B250F}" destId="{1D07D33D-2234-4180-90B6-F4B6278341BD}" srcOrd="1" destOrd="0" presId="urn:microsoft.com/office/officeart/2005/8/layout/orgChart1"/>
    <dgm:cxn modelId="{917BEE14-EACC-4597-94A1-6CF367A911FC}" type="presParOf" srcId="{1D07D33D-2234-4180-90B6-F4B6278341BD}" destId="{33227BA0-D4A8-4B16-B356-887C116FEC3A}" srcOrd="0" destOrd="0" presId="urn:microsoft.com/office/officeart/2005/8/layout/orgChart1"/>
    <dgm:cxn modelId="{15810F7D-389A-4529-A2E2-1DBDD8BC86CE}" type="presParOf" srcId="{1D07D33D-2234-4180-90B6-F4B6278341BD}" destId="{4E7CE246-A7D0-48BE-8AF5-0620C3A311EA}" srcOrd="1" destOrd="0" presId="urn:microsoft.com/office/officeart/2005/8/layout/orgChart1"/>
    <dgm:cxn modelId="{6DFDB6C6-C1E2-41E7-8DBD-68E387C0C30E}" type="presParOf" srcId="{4E7CE246-A7D0-48BE-8AF5-0620C3A311EA}" destId="{954D01BD-D384-4A80-B2B2-D53C9C6A5258}" srcOrd="0" destOrd="0" presId="urn:microsoft.com/office/officeart/2005/8/layout/orgChart1"/>
    <dgm:cxn modelId="{0342512C-E6D6-4638-A85A-897AC1BD7F72}" type="presParOf" srcId="{954D01BD-D384-4A80-B2B2-D53C9C6A5258}" destId="{3FF1D505-F108-44CF-B2D4-9F98D796A4D0}" srcOrd="0" destOrd="0" presId="urn:microsoft.com/office/officeart/2005/8/layout/orgChart1"/>
    <dgm:cxn modelId="{A43BC009-30AC-4915-A10A-900E2F0F8449}" type="presParOf" srcId="{954D01BD-D384-4A80-B2B2-D53C9C6A5258}" destId="{5A1BAC47-8D16-4FD5-8D0A-BF9C1FDC22C9}" srcOrd="1" destOrd="0" presId="urn:microsoft.com/office/officeart/2005/8/layout/orgChart1"/>
    <dgm:cxn modelId="{852EAC19-DE05-4BEA-A5AB-277307B348A7}" type="presParOf" srcId="{4E7CE246-A7D0-48BE-8AF5-0620C3A311EA}" destId="{E3454E01-0C05-4308-A0AF-AA68E8086BAF}" srcOrd="1" destOrd="0" presId="urn:microsoft.com/office/officeart/2005/8/layout/orgChart1"/>
    <dgm:cxn modelId="{0A1D7682-359F-4DCA-B785-3AEF6C697C00}" type="presParOf" srcId="{E3454E01-0C05-4308-A0AF-AA68E8086BAF}" destId="{A407D757-7DAA-49BC-A28A-32088A4E6740}" srcOrd="0" destOrd="0" presId="urn:microsoft.com/office/officeart/2005/8/layout/orgChart1"/>
    <dgm:cxn modelId="{0EF98E57-D363-42FC-A164-AD094CD0B22A}" type="presParOf" srcId="{E3454E01-0C05-4308-A0AF-AA68E8086BAF}" destId="{CE22FF57-264B-4A9D-9C62-913969710ACF}" srcOrd="1" destOrd="0" presId="urn:microsoft.com/office/officeart/2005/8/layout/orgChart1"/>
    <dgm:cxn modelId="{FA88898E-627C-4F06-A7AE-67C491762014}" type="presParOf" srcId="{CE22FF57-264B-4A9D-9C62-913969710ACF}" destId="{855AD13B-34DC-48C2-8B0B-E726A4F63701}" srcOrd="0" destOrd="0" presId="urn:microsoft.com/office/officeart/2005/8/layout/orgChart1"/>
    <dgm:cxn modelId="{A4B6B257-69E5-418B-A773-B8C15D000F56}" type="presParOf" srcId="{855AD13B-34DC-48C2-8B0B-E726A4F63701}" destId="{4B641B23-6DF0-4FB2-852F-8EEC5B82E9FD}" srcOrd="0" destOrd="0" presId="urn:microsoft.com/office/officeart/2005/8/layout/orgChart1"/>
    <dgm:cxn modelId="{8A3837C7-E70B-44AD-B9B4-EF450F964DD5}" type="presParOf" srcId="{855AD13B-34DC-48C2-8B0B-E726A4F63701}" destId="{A33AC2EF-B5E5-4517-88A0-A3F5C28E9098}" srcOrd="1" destOrd="0" presId="urn:microsoft.com/office/officeart/2005/8/layout/orgChart1"/>
    <dgm:cxn modelId="{0DE20BC4-858F-4318-BDFF-3B87ED9E9A7B}" type="presParOf" srcId="{CE22FF57-264B-4A9D-9C62-913969710ACF}" destId="{AAF4BCF7-EEC7-4EF6-ABC1-64D407DC5335}" srcOrd="1" destOrd="0" presId="urn:microsoft.com/office/officeart/2005/8/layout/orgChart1"/>
    <dgm:cxn modelId="{97AD7358-8F1F-4EF6-A9AE-979AD6B09B95}" type="presParOf" srcId="{CE22FF57-264B-4A9D-9C62-913969710ACF}" destId="{1E864168-098E-4C9E-A8EC-282760C2DBFD}" srcOrd="2" destOrd="0" presId="urn:microsoft.com/office/officeart/2005/8/layout/orgChart1"/>
    <dgm:cxn modelId="{36D0E591-0671-4B63-90CB-5770C45D9A80}" type="presParOf" srcId="{4E7CE246-A7D0-48BE-8AF5-0620C3A311EA}" destId="{F644338E-CF12-45F7-820F-0EDF6254DF84}" srcOrd="2" destOrd="0" presId="urn:microsoft.com/office/officeart/2005/8/layout/orgChart1"/>
    <dgm:cxn modelId="{F53BB3B0-A733-4CF3-B6FD-AAFC65E1D02C}" type="presParOf" srcId="{4030F730-F1C6-4D9D-86A8-72F9427B250F}" destId="{4F7E3EED-CBCF-441B-8DF6-B9632A5510BA}" srcOrd="2" destOrd="0" presId="urn:microsoft.com/office/officeart/2005/8/layout/orgChart1"/>
    <dgm:cxn modelId="{EFA159ED-7A47-4E14-A85E-0D60369E9577}" type="presParOf" srcId="{63EDB987-C4F9-47F7-8EBF-8C6B69E05CCA}" destId="{F0D85855-93FA-4E4D-859A-96CC76640165}" srcOrd="2" destOrd="0" presId="urn:microsoft.com/office/officeart/2005/8/layout/orgChart1"/>
    <dgm:cxn modelId="{1C5857D7-0D22-4CDD-A71F-534F6C5D1CA9}" type="presParOf" srcId="{EF658EDF-970F-44AF-A65D-9D6ED29FA349}" destId="{B70E435C-1938-4693-9A64-79AC0CCA1F7B}" srcOrd="2" destOrd="0" presId="urn:microsoft.com/office/officeart/2005/8/layout/orgChart1"/>
    <dgm:cxn modelId="{D51A75BC-3B25-42F6-8FB9-914EAF340797}" type="presParOf" srcId="{227E2903-0E8F-44B6-B45E-C7A92EDE3795}" destId="{0DAE499C-450D-4C68-9D23-2D9CB0B06C81}" srcOrd="2" destOrd="0" presId="urn:microsoft.com/office/officeart/2005/8/layout/orgChart1"/>
    <dgm:cxn modelId="{590514B0-7A0D-469B-996C-FD9E65DED2D8}" type="presParOf" srcId="{0DAE499C-450D-4C68-9D23-2D9CB0B06C81}" destId="{1C449442-8C33-4B57-BEA7-B9654F014B07}" srcOrd="0" destOrd="0" presId="urn:microsoft.com/office/officeart/2005/8/layout/orgChart1"/>
    <dgm:cxn modelId="{7709B634-4E56-454F-89CB-1DB84CA1908D}" type="presParOf" srcId="{0DAE499C-450D-4C68-9D23-2D9CB0B06C81}" destId="{E493EAC6-A3D1-4593-9861-330DB1699FF4}" srcOrd="1" destOrd="0" presId="urn:microsoft.com/office/officeart/2005/8/layout/orgChart1"/>
    <dgm:cxn modelId="{34B49137-DD61-4110-950B-F156113CF542}" type="presParOf" srcId="{E493EAC6-A3D1-4593-9861-330DB1699FF4}" destId="{FB62521E-C4D6-43D7-BCE1-B5CDA8760C6B}" srcOrd="0" destOrd="0" presId="urn:microsoft.com/office/officeart/2005/8/layout/orgChart1"/>
    <dgm:cxn modelId="{207D2650-0D4D-4F98-A043-6B706433CBE6}" type="presParOf" srcId="{FB62521E-C4D6-43D7-BCE1-B5CDA8760C6B}" destId="{E0B8EAC7-F880-4316-8AD8-B2B956CD5CA7}" srcOrd="0" destOrd="0" presId="urn:microsoft.com/office/officeart/2005/8/layout/orgChart1"/>
    <dgm:cxn modelId="{652ECC63-97E9-4527-BC20-8060EF1A7B15}" type="presParOf" srcId="{FB62521E-C4D6-43D7-BCE1-B5CDA8760C6B}" destId="{D113A79F-4148-45EA-B0CC-FC76480F9FD7}" srcOrd="1" destOrd="0" presId="urn:microsoft.com/office/officeart/2005/8/layout/orgChart1"/>
    <dgm:cxn modelId="{3990DB58-F2C0-4A80-AEA0-48753B984D9B}" type="presParOf" srcId="{E493EAC6-A3D1-4593-9861-330DB1699FF4}" destId="{C8A10507-3192-4C7F-9AC8-4404142E6DA9}" srcOrd="1" destOrd="0" presId="urn:microsoft.com/office/officeart/2005/8/layout/orgChart1"/>
    <dgm:cxn modelId="{AFCD4EA9-C675-4245-876B-085C8AE1730D}" type="presParOf" srcId="{E493EAC6-A3D1-4593-9861-330DB1699FF4}" destId="{EE50D89A-B4AD-4C3E-93AF-2F77724FC06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D7FD41-5293-4C8A-958C-2ED77A6004FF}">
      <dsp:nvSpPr>
        <dsp:cNvPr id="0" name=""/>
        <dsp:cNvSpPr/>
      </dsp:nvSpPr>
      <dsp:spPr>
        <a:xfrm>
          <a:off x="3268995" y="-5955"/>
          <a:ext cx="6195488" cy="6195488"/>
        </a:xfrm>
        <a:prstGeom prst="circularArrow">
          <a:avLst>
            <a:gd name="adj1" fmla="val 5274"/>
            <a:gd name="adj2" fmla="val 312630"/>
            <a:gd name="adj3" fmla="val 14190053"/>
            <a:gd name="adj4" fmla="val 17149335"/>
            <a:gd name="adj5" fmla="val 547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76F7DA-A05C-456D-9FED-BAA7D5FA686F}">
      <dsp:nvSpPr>
        <dsp:cNvPr id="0" name=""/>
        <dsp:cNvSpPr/>
      </dsp:nvSpPr>
      <dsp:spPr>
        <a:xfrm>
          <a:off x="5163649" y="1015"/>
          <a:ext cx="2406179" cy="1203089"/>
        </a:xfrm>
        <a:prstGeom prst="roundRect">
          <a:avLst/>
        </a:prstGeom>
        <a:solidFill>
          <a:srgbClr val="C65D2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solidFill>
                <a:schemeClr val="tx1"/>
              </a:solidFill>
            </a:rPr>
            <a:t>Загруженность учителей </a:t>
          </a:r>
        </a:p>
      </dsp:txBody>
      <dsp:txXfrm>
        <a:off x="5222379" y="59745"/>
        <a:ext cx="2288719" cy="1085629"/>
      </dsp:txXfrm>
    </dsp:sp>
    <dsp:sp modelId="{FF9A7F4E-61A7-4165-9CDE-959383E90EE6}">
      <dsp:nvSpPr>
        <dsp:cNvPr id="0" name=""/>
        <dsp:cNvSpPr/>
      </dsp:nvSpPr>
      <dsp:spPr>
        <a:xfrm>
          <a:off x="7340302" y="1257706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sp:txBody>
      <dsp:txXfrm>
        <a:off x="7399032" y="1316436"/>
        <a:ext cx="2288719" cy="1085629"/>
      </dsp:txXfrm>
    </dsp:sp>
    <dsp:sp modelId="{4F455018-EBF4-4209-9D90-5A9A20CE0B0E}">
      <dsp:nvSpPr>
        <dsp:cNvPr id="0" name=""/>
        <dsp:cNvSpPr/>
      </dsp:nvSpPr>
      <dsp:spPr>
        <a:xfrm>
          <a:off x="7340302" y="3771089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sp:txBody>
      <dsp:txXfrm>
        <a:off x="7399032" y="3829819"/>
        <a:ext cx="2288719" cy="1085629"/>
      </dsp:txXfrm>
    </dsp:sp>
    <dsp:sp modelId="{B78DA06D-FD10-4DAA-80A9-3416FA1DD1C4}">
      <dsp:nvSpPr>
        <dsp:cNvPr id="0" name=""/>
        <dsp:cNvSpPr/>
      </dsp:nvSpPr>
      <dsp:spPr>
        <a:xfrm>
          <a:off x="5163649" y="5027780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sp:txBody>
      <dsp:txXfrm>
        <a:off x="5222379" y="5086510"/>
        <a:ext cx="2288719" cy="1085629"/>
      </dsp:txXfrm>
    </dsp:sp>
    <dsp:sp modelId="{A656902B-D635-442F-8465-A64FC9976F3B}">
      <dsp:nvSpPr>
        <dsp:cNvPr id="0" name=""/>
        <dsp:cNvSpPr/>
      </dsp:nvSpPr>
      <dsp:spPr>
        <a:xfrm>
          <a:off x="2986996" y="3771089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sp:txBody>
      <dsp:txXfrm>
        <a:off x="3045726" y="3829819"/>
        <a:ext cx="2288719" cy="1085629"/>
      </dsp:txXfrm>
    </dsp:sp>
    <dsp:sp modelId="{97F211FA-77BA-41DD-8E61-FA1013089D0A}">
      <dsp:nvSpPr>
        <dsp:cNvPr id="0" name=""/>
        <dsp:cNvSpPr/>
      </dsp:nvSpPr>
      <dsp:spPr>
        <a:xfrm>
          <a:off x="2986996" y="1257706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rgbClr val="7A70C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sp:txBody>
      <dsp:txXfrm>
        <a:off x="3045726" y="1316436"/>
        <a:ext cx="2288719" cy="108562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3C6D7-CA53-4659-A3CB-217167C3C37C}">
      <dsp:nvSpPr>
        <dsp:cNvPr id="0" name=""/>
        <dsp:cNvSpPr/>
      </dsp:nvSpPr>
      <dsp:spPr>
        <a:xfrm>
          <a:off x="1230" y="240751"/>
          <a:ext cx="4798621" cy="2879173"/>
        </a:xfrm>
        <a:prstGeom prst="rect">
          <a:avLst/>
        </a:prstGeom>
        <a:solidFill>
          <a:srgbClr val="ABABDD"/>
        </a:solidFill>
        <a:ln>
          <a:noFill/>
        </a:ln>
        <a:effectLst>
          <a:glow rad="63500">
            <a:schemeClr val="accent1">
              <a:satMod val="175000"/>
              <a:alpha val="40000"/>
            </a:schemeClr>
          </a:glow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0" kern="1200" dirty="0"/>
            <a:t>Наделить полномочиями ФОИВ по формированию перечня документов педагогов </a:t>
          </a:r>
        </a:p>
      </dsp:txBody>
      <dsp:txXfrm>
        <a:off x="1230" y="240751"/>
        <a:ext cx="4798621" cy="2879173"/>
      </dsp:txXfrm>
    </dsp:sp>
    <dsp:sp modelId="{65809589-AB2C-4F4F-B1EA-8D8176773507}">
      <dsp:nvSpPr>
        <dsp:cNvPr id="0" name=""/>
        <dsp:cNvSpPr/>
      </dsp:nvSpPr>
      <dsp:spPr>
        <a:xfrm>
          <a:off x="5279714" y="240751"/>
          <a:ext cx="4798621" cy="2879173"/>
        </a:xfrm>
        <a:prstGeom prst="rect">
          <a:avLst/>
        </a:prstGeom>
        <a:solidFill>
          <a:srgbClr val="ABABDD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/>
            <a:t>Запретить запрашивать документы за пределами утвержденного ФОИВ перечня </a:t>
          </a:r>
        </a:p>
      </dsp:txBody>
      <dsp:txXfrm>
        <a:off x="5279714" y="240751"/>
        <a:ext cx="4798621" cy="2879173"/>
      </dsp:txXfrm>
    </dsp:sp>
    <dsp:sp modelId="{97188957-5B9D-4ADF-9E5A-A459DD3419AB}">
      <dsp:nvSpPr>
        <dsp:cNvPr id="0" name=""/>
        <dsp:cNvSpPr/>
      </dsp:nvSpPr>
      <dsp:spPr>
        <a:xfrm>
          <a:off x="1230" y="3599786"/>
          <a:ext cx="4798621" cy="2879173"/>
        </a:xfrm>
        <a:prstGeom prst="rect">
          <a:avLst/>
        </a:prstGeom>
        <a:solidFill>
          <a:srgbClr val="ABABDD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/>
            <a:t>Сформировать основания для запросов </a:t>
          </a:r>
        </a:p>
      </dsp:txBody>
      <dsp:txXfrm>
        <a:off x="1230" y="3599786"/>
        <a:ext cx="4798621" cy="2879173"/>
      </dsp:txXfrm>
    </dsp:sp>
    <dsp:sp modelId="{060B841A-1511-4CB3-A978-F582D19D3273}">
      <dsp:nvSpPr>
        <dsp:cNvPr id="0" name=""/>
        <dsp:cNvSpPr/>
      </dsp:nvSpPr>
      <dsp:spPr>
        <a:xfrm>
          <a:off x="5279714" y="3599786"/>
          <a:ext cx="4798621" cy="2879173"/>
        </a:xfrm>
        <a:prstGeom prst="rect">
          <a:avLst/>
        </a:prstGeom>
        <a:solidFill>
          <a:srgbClr val="ABABDD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/>
            <a:t>Разрешить не отвечать на запросы, направленные без оснований </a:t>
          </a:r>
        </a:p>
      </dsp:txBody>
      <dsp:txXfrm>
        <a:off x="5279714" y="3599786"/>
        <a:ext cx="4798621" cy="287917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717471-8AEB-47B2-B27C-A0452D034E6F}">
      <dsp:nvSpPr>
        <dsp:cNvPr id="0" name=""/>
        <dsp:cNvSpPr/>
      </dsp:nvSpPr>
      <dsp:spPr>
        <a:xfrm>
          <a:off x="0" y="1010723"/>
          <a:ext cx="11479860" cy="5040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0D5D18-AD46-4607-9440-A55BFD90895D}">
      <dsp:nvSpPr>
        <dsp:cNvPr id="0" name=""/>
        <dsp:cNvSpPr/>
      </dsp:nvSpPr>
      <dsp:spPr>
        <a:xfrm>
          <a:off x="573993" y="147122"/>
          <a:ext cx="9564571" cy="1158801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3738" tIns="0" rIns="30373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solidFill>
                <a:schemeClr val="tx2">
                  <a:lumMod val="75000"/>
                </a:schemeClr>
              </a:solidFill>
            </a:rPr>
            <a:t>Необходимость выполнения поручений, указов Президента РФ</a:t>
          </a:r>
        </a:p>
      </dsp:txBody>
      <dsp:txXfrm>
        <a:off x="630561" y="203690"/>
        <a:ext cx="9451435" cy="1045665"/>
      </dsp:txXfrm>
    </dsp:sp>
    <dsp:sp modelId="{6CB3A12D-977C-4F92-B69C-3A846A0F899E}">
      <dsp:nvSpPr>
        <dsp:cNvPr id="0" name=""/>
        <dsp:cNvSpPr/>
      </dsp:nvSpPr>
      <dsp:spPr>
        <a:xfrm>
          <a:off x="0" y="2477699"/>
          <a:ext cx="11479860" cy="5040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C7F8F4-081F-4AEA-90AF-30E30294E379}">
      <dsp:nvSpPr>
        <dsp:cNvPr id="0" name=""/>
        <dsp:cNvSpPr/>
      </dsp:nvSpPr>
      <dsp:spPr>
        <a:xfrm>
          <a:off x="573993" y="1622723"/>
          <a:ext cx="9615197" cy="1150175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3738" tIns="0" rIns="30373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/>
            <a:t>Необходимость выполнения поручений Председателя и заместителей Председателя правительства </a:t>
          </a:r>
        </a:p>
      </dsp:txBody>
      <dsp:txXfrm>
        <a:off x="630140" y="1678870"/>
        <a:ext cx="9502903" cy="1037881"/>
      </dsp:txXfrm>
    </dsp:sp>
    <dsp:sp modelId="{B2681058-006E-482D-A943-81A9E568DF72}">
      <dsp:nvSpPr>
        <dsp:cNvPr id="0" name=""/>
        <dsp:cNvSpPr/>
      </dsp:nvSpPr>
      <dsp:spPr>
        <a:xfrm>
          <a:off x="0" y="3915500"/>
          <a:ext cx="11479860" cy="5040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19B15F-DBC9-451B-905D-A363EAF1263F}">
      <dsp:nvSpPr>
        <dsp:cNvPr id="0" name=""/>
        <dsp:cNvSpPr/>
      </dsp:nvSpPr>
      <dsp:spPr>
        <a:xfrm>
          <a:off x="573993" y="3089699"/>
          <a:ext cx="9587393" cy="1072101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3738" tIns="0" rIns="30373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/>
            <a:t>Требования федерального </a:t>
          </a:r>
          <a:r>
            <a:rPr lang="ru-RU" sz="2400" b="1" kern="1200" dirty="0" err="1"/>
            <a:t>законодательсва</a:t>
          </a:r>
          <a:r>
            <a:rPr lang="ru-RU" sz="2400" b="1" kern="1200" dirty="0"/>
            <a:t> </a:t>
          </a:r>
        </a:p>
      </dsp:txBody>
      <dsp:txXfrm>
        <a:off x="626329" y="3142035"/>
        <a:ext cx="9482721" cy="967429"/>
      </dsp:txXfrm>
    </dsp:sp>
    <dsp:sp modelId="{CE8B9115-1264-475B-BBE2-88BBC756397D}">
      <dsp:nvSpPr>
        <dsp:cNvPr id="0" name=""/>
        <dsp:cNvSpPr/>
      </dsp:nvSpPr>
      <dsp:spPr>
        <a:xfrm>
          <a:off x="0" y="5355422"/>
          <a:ext cx="11479860" cy="5040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522046-88B4-403E-833E-791368CE8401}">
      <dsp:nvSpPr>
        <dsp:cNvPr id="0" name=""/>
        <dsp:cNvSpPr/>
      </dsp:nvSpPr>
      <dsp:spPr>
        <a:xfrm>
          <a:off x="573993" y="4478601"/>
          <a:ext cx="9587393" cy="11720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3738" tIns="0" rIns="30373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/>
            <a:t>Необходимость получения информации для реализации национальных проектов и программ Российской Федерации</a:t>
          </a:r>
        </a:p>
      </dsp:txBody>
      <dsp:txXfrm>
        <a:off x="631206" y="4535814"/>
        <a:ext cx="9472967" cy="1057594"/>
      </dsp:txXfrm>
    </dsp:sp>
    <dsp:sp modelId="{2CF99F47-9067-4BFF-A1BB-D668AE251548}">
      <dsp:nvSpPr>
        <dsp:cNvPr id="0" name=""/>
        <dsp:cNvSpPr/>
      </dsp:nvSpPr>
      <dsp:spPr>
        <a:xfrm>
          <a:off x="0" y="6910237"/>
          <a:ext cx="11479860" cy="5040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2850F0-6351-409C-9F14-0ACD4070880F}">
      <dsp:nvSpPr>
        <dsp:cNvPr id="0" name=""/>
        <dsp:cNvSpPr/>
      </dsp:nvSpPr>
      <dsp:spPr>
        <a:xfrm>
          <a:off x="573993" y="5967422"/>
          <a:ext cx="9670484" cy="1238015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3738" tIns="0" rIns="30373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/>
            <a:t>Отсутствие информации в  имеющихся информационных системах и в открытых источниках </a:t>
          </a:r>
        </a:p>
      </dsp:txBody>
      <dsp:txXfrm>
        <a:off x="634428" y="6027857"/>
        <a:ext cx="9549614" cy="11171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C0D91E-2927-43CF-8F81-3F3EB496D6D7}">
      <dsp:nvSpPr>
        <dsp:cNvPr id="0" name=""/>
        <dsp:cNvSpPr/>
      </dsp:nvSpPr>
      <dsp:spPr>
        <a:xfrm>
          <a:off x="10649748" y="5666493"/>
          <a:ext cx="91440" cy="6625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62512"/>
              </a:lnTo>
            </a:path>
          </a:pathLst>
        </a:custGeom>
        <a:noFill/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D08E6B-5BF0-48FD-B2CC-350D05273797}">
      <dsp:nvSpPr>
        <dsp:cNvPr id="0" name=""/>
        <dsp:cNvSpPr/>
      </dsp:nvSpPr>
      <dsp:spPr>
        <a:xfrm>
          <a:off x="9303370" y="3557464"/>
          <a:ext cx="1392098" cy="6625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1482"/>
              </a:lnTo>
              <a:lnTo>
                <a:pt x="1392098" y="451482"/>
              </a:lnTo>
              <a:lnTo>
                <a:pt x="1392098" y="662512"/>
              </a:lnTo>
            </a:path>
          </a:pathLst>
        </a:custGeom>
        <a:noFill/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AA146F-734F-4F1D-8B99-0782E9D7324C}">
      <dsp:nvSpPr>
        <dsp:cNvPr id="0" name=""/>
        <dsp:cNvSpPr/>
      </dsp:nvSpPr>
      <dsp:spPr>
        <a:xfrm>
          <a:off x="7865551" y="5666493"/>
          <a:ext cx="91440" cy="6625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62512"/>
              </a:lnTo>
            </a:path>
          </a:pathLst>
        </a:custGeom>
        <a:noFill/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3DD498-5D19-48C9-A16B-884FA808A6BA}">
      <dsp:nvSpPr>
        <dsp:cNvPr id="0" name=""/>
        <dsp:cNvSpPr/>
      </dsp:nvSpPr>
      <dsp:spPr>
        <a:xfrm>
          <a:off x="7911271" y="3557464"/>
          <a:ext cx="1392098" cy="662512"/>
        </a:xfrm>
        <a:custGeom>
          <a:avLst/>
          <a:gdLst/>
          <a:ahLst/>
          <a:cxnLst/>
          <a:rect l="0" t="0" r="0" b="0"/>
          <a:pathLst>
            <a:path>
              <a:moveTo>
                <a:pt x="1392098" y="0"/>
              </a:moveTo>
              <a:lnTo>
                <a:pt x="1392098" y="451482"/>
              </a:lnTo>
              <a:lnTo>
                <a:pt x="0" y="451482"/>
              </a:lnTo>
              <a:lnTo>
                <a:pt x="0" y="662512"/>
              </a:lnTo>
            </a:path>
          </a:pathLst>
        </a:custGeom>
        <a:noFill/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7AE0AA-2741-4D56-8E62-636E70776692}">
      <dsp:nvSpPr>
        <dsp:cNvPr id="0" name=""/>
        <dsp:cNvSpPr/>
      </dsp:nvSpPr>
      <dsp:spPr>
        <a:xfrm>
          <a:off x="6543684" y="1448435"/>
          <a:ext cx="2759685" cy="6625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1482"/>
              </a:lnTo>
              <a:lnTo>
                <a:pt x="2759685" y="451482"/>
              </a:lnTo>
              <a:lnTo>
                <a:pt x="2759685" y="662512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B4D52-3A2A-4FAE-9949-0CFEB34074C7}">
      <dsp:nvSpPr>
        <dsp:cNvPr id="0" name=""/>
        <dsp:cNvSpPr/>
      </dsp:nvSpPr>
      <dsp:spPr>
        <a:xfrm>
          <a:off x="5081355" y="5666493"/>
          <a:ext cx="91440" cy="6625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62512"/>
              </a:lnTo>
            </a:path>
          </a:pathLst>
        </a:custGeom>
        <a:noFill/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D666D7-B900-4083-A123-AA13410EFDFE}">
      <dsp:nvSpPr>
        <dsp:cNvPr id="0" name=""/>
        <dsp:cNvSpPr/>
      </dsp:nvSpPr>
      <dsp:spPr>
        <a:xfrm>
          <a:off x="3734977" y="3557464"/>
          <a:ext cx="1392098" cy="6625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1482"/>
              </a:lnTo>
              <a:lnTo>
                <a:pt x="1392098" y="451482"/>
              </a:lnTo>
              <a:lnTo>
                <a:pt x="1392098" y="662512"/>
              </a:lnTo>
            </a:path>
          </a:pathLst>
        </a:custGeom>
        <a:noFill/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387D0B-B80F-4475-8185-B5865362B416}">
      <dsp:nvSpPr>
        <dsp:cNvPr id="0" name=""/>
        <dsp:cNvSpPr/>
      </dsp:nvSpPr>
      <dsp:spPr>
        <a:xfrm>
          <a:off x="2297158" y="5666493"/>
          <a:ext cx="91440" cy="6625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62512"/>
              </a:lnTo>
            </a:path>
          </a:pathLst>
        </a:custGeom>
        <a:noFill/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C8A7B3-0C87-4857-AFAE-00CF877D71D1}">
      <dsp:nvSpPr>
        <dsp:cNvPr id="0" name=""/>
        <dsp:cNvSpPr/>
      </dsp:nvSpPr>
      <dsp:spPr>
        <a:xfrm>
          <a:off x="2342878" y="3557464"/>
          <a:ext cx="1392098" cy="662512"/>
        </a:xfrm>
        <a:custGeom>
          <a:avLst/>
          <a:gdLst/>
          <a:ahLst/>
          <a:cxnLst/>
          <a:rect l="0" t="0" r="0" b="0"/>
          <a:pathLst>
            <a:path>
              <a:moveTo>
                <a:pt x="1392098" y="0"/>
              </a:moveTo>
              <a:lnTo>
                <a:pt x="1392098" y="451482"/>
              </a:lnTo>
              <a:lnTo>
                <a:pt x="0" y="451482"/>
              </a:lnTo>
              <a:lnTo>
                <a:pt x="0" y="662512"/>
              </a:lnTo>
            </a:path>
          </a:pathLst>
        </a:custGeom>
        <a:noFill/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B1DCA6-4959-4E2F-BAC0-18AB56955FE4}">
      <dsp:nvSpPr>
        <dsp:cNvPr id="0" name=""/>
        <dsp:cNvSpPr/>
      </dsp:nvSpPr>
      <dsp:spPr>
        <a:xfrm>
          <a:off x="3734977" y="1448435"/>
          <a:ext cx="2808707" cy="662512"/>
        </a:xfrm>
        <a:custGeom>
          <a:avLst/>
          <a:gdLst/>
          <a:ahLst/>
          <a:cxnLst/>
          <a:rect l="0" t="0" r="0" b="0"/>
          <a:pathLst>
            <a:path>
              <a:moveTo>
                <a:pt x="2808707" y="0"/>
              </a:moveTo>
              <a:lnTo>
                <a:pt x="2808707" y="451482"/>
              </a:lnTo>
              <a:lnTo>
                <a:pt x="0" y="451482"/>
              </a:lnTo>
              <a:lnTo>
                <a:pt x="0" y="662512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5F6BBE-60FE-467F-8279-C9A0ECC2529F}">
      <dsp:nvSpPr>
        <dsp:cNvPr id="0" name=""/>
        <dsp:cNvSpPr/>
      </dsp:nvSpPr>
      <dsp:spPr>
        <a:xfrm>
          <a:off x="5404695" y="1918"/>
          <a:ext cx="2277979" cy="1446516"/>
        </a:xfrm>
        <a:prstGeom prst="roundRect">
          <a:avLst>
            <a:gd name="adj" fmla="val 10000"/>
          </a:avLst>
        </a:prstGeom>
        <a:solidFill>
          <a:srgbClr val="565087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B7CDD0-4D05-4701-AAA4-588193AE41CD}">
      <dsp:nvSpPr>
        <dsp:cNvPr id="0" name=""/>
        <dsp:cNvSpPr/>
      </dsp:nvSpPr>
      <dsp:spPr>
        <a:xfrm>
          <a:off x="5657803" y="242371"/>
          <a:ext cx="2277979" cy="1446516"/>
        </a:xfrm>
        <a:prstGeom prst="roundRect">
          <a:avLst>
            <a:gd name="adj" fmla="val 10000"/>
          </a:avLst>
        </a:prstGeom>
        <a:solidFill>
          <a:srgbClr val="CDCDEB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/>
            <a:t>КНД</a:t>
          </a:r>
        </a:p>
      </dsp:txBody>
      <dsp:txXfrm>
        <a:off x="5700170" y="284738"/>
        <a:ext cx="2193245" cy="1361782"/>
      </dsp:txXfrm>
    </dsp:sp>
    <dsp:sp modelId="{F2A8E741-786A-454C-B550-C58294F79E1B}">
      <dsp:nvSpPr>
        <dsp:cNvPr id="0" name=""/>
        <dsp:cNvSpPr/>
      </dsp:nvSpPr>
      <dsp:spPr>
        <a:xfrm>
          <a:off x="2541566" y="2110947"/>
          <a:ext cx="2386820" cy="1446516"/>
        </a:xfrm>
        <a:prstGeom prst="roundRect">
          <a:avLst>
            <a:gd name="adj" fmla="val 10000"/>
          </a:avLst>
        </a:prstGeom>
        <a:solidFill>
          <a:srgbClr val="565087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B54796-FC26-48A8-8AE2-BED90B49B645}">
      <dsp:nvSpPr>
        <dsp:cNvPr id="0" name=""/>
        <dsp:cNvSpPr/>
      </dsp:nvSpPr>
      <dsp:spPr>
        <a:xfrm>
          <a:off x="2794675" y="2351400"/>
          <a:ext cx="2386820" cy="1446516"/>
        </a:xfrm>
        <a:prstGeom prst="roundRect">
          <a:avLst>
            <a:gd name="adj" fmla="val 10000"/>
          </a:avLst>
        </a:prstGeom>
        <a:solidFill>
          <a:srgbClr val="CDCDEB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Образовательные организации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(Рособрнадзор) </a:t>
          </a:r>
        </a:p>
      </dsp:txBody>
      <dsp:txXfrm>
        <a:off x="2837042" y="2393767"/>
        <a:ext cx="2302086" cy="1361782"/>
      </dsp:txXfrm>
    </dsp:sp>
    <dsp:sp modelId="{7252842B-8401-4441-9455-9E1836C93C82}">
      <dsp:nvSpPr>
        <dsp:cNvPr id="0" name=""/>
        <dsp:cNvSpPr/>
      </dsp:nvSpPr>
      <dsp:spPr>
        <a:xfrm>
          <a:off x="1203889" y="4219976"/>
          <a:ext cx="2277979" cy="1446516"/>
        </a:xfrm>
        <a:prstGeom prst="roundRect">
          <a:avLst>
            <a:gd name="adj" fmla="val 10000"/>
          </a:avLst>
        </a:prstGeom>
        <a:solidFill>
          <a:srgbClr val="565087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D6E1C6-96E3-4B97-8476-21B3CA78BB92}">
      <dsp:nvSpPr>
        <dsp:cNvPr id="0" name=""/>
        <dsp:cNvSpPr/>
      </dsp:nvSpPr>
      <dsp:spPr>
        <a:xfrm>
          <a:off x="1456997" y="4460429"/>
          <a:ext cx="2277979" cy="1446516"/>
        </a:xfrm>
        <a:prstGeom prst="roundRect">
          <a:avLst>
            <a:gd name="adj" fmla="val 10000"/>
          </a:avLst>
        </a:prstGeom>
        <a:solidFill>
          <a:srgbClr val="CDCDEB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Основания проверки </a:t>
          </a:r>
        </a:p>
      </dsp:txBody>
      <dsp:txXfrm>
        <a:off x="1499364" y="4502796"/>
        <a:ext cx="2193245" cy="1361782"/>
      </dsp:txXfrm>
    </dsp:sp>
    <dsp:sp modelId="{CE2D016C-F301-4EFD-9E8E-6B4FA5418A50}">
      <dsp:nvSpPr>
        <dsp:cNvPr id="0" name=""/>
        <dsp:cNvSpPr/>
      </dsp:nvSpPr>
      <dsp:spPr>
        <a:xfrm>
          <a:off x="1203889" y="6329005"/>
          <a:ext cx="2277979" cy="1446516"/>
        </a:xfrm>
        <a:prstGeom prst="roundRect">
          <a:avLst>
            <a:gd name="adj" fmla="val 10000"/>
          </a:avLst>
        </a:prstGeom>
        <a:solidFill>
          <a:srgbClr val="565087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93CCB9-CBEA-42A2-B9F6-893C4698C641}">
      <dsp:nvSpPr>
        <dsp:cNvPr id="0" name=""/>
        <dsp:cNvSpPr/>
      </dsp:nvSpPr>
      <dsp:spPr>
        <a:xfrm>
          <a:off x="1456997" y="6569458"/>
          <a:ext cx="2277979" cy="1446516"/>
        </a:xfrm>
        <a:prstGeom prst="roundRect">
          <a:avLst>
            <a:gd name="adj" fmla="val 10000"/>
          </a:avLst>
        </a:prstGeom>
        <a:solidFill>
          <a:srgbClr val="CDCDEB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273 ФЗ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Федеральные требования к документационной нагрузке и предоставлении информации 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Профстандарт </a:t>
          </a:r>
        </a:p>
      </dsp:txBody>
      <dsp:txXfrm>
        <a:off x="1499364" y="6611825"/>
        <a:ext cx="2193245" cy="1361782"/>
      </dsp:txXfrm>
    </dsp:sp>
    <dsp:sp modelId="{B36ADDD6-2F2F-403F-A4A7-4986B4F3E070}">
      <dsp:nvSpPr>
        <dsp:cNvPr id="0" name=""/>
        <dsp:cNvSpPr/>
      </dsp:nvSpPr>
      <dsp:spPr>
        <a:xfrm>
          <a:off x="3988085" y="4219976"/>
          <a:ext cx="2277979" cy="1446516"/>
        </a:xfrm>
        <a:prstGeom prst="roundRect">
          <a:avLst>
            <a:gd name="adj" fmla="val 10000"/>
          </a:avLst>
        </a:prstGeom>
        <a:solidFill>
          <a:srgbClr val="565087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339B3E-3838-41CF-8223-A465A3875B1E}">
      <dsp:nvSpPr>
        <dsp:cNvPr id="0" name=""/>
        <dsp:cNvSpPr/>
      </dsp:nvSpPr>
      <dsp:spPr>
        <a:xfrm>
          <a:off x="4241194" y="4460429"/>
          <a:ext cx="2277979" cy="1446516"/>
        </a:xfrm>
        <a:prstGeom prst="roundRect">
          <a:avLst>
            <a:gd name="adj" fmla="val 10000"/>
          </a:avLst>
        </a:prstGeom>
        <a:solidFill>
          <a:srgbClr val="CDCDEB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Предмет проверки </a:t>
          </a:r>
        </a:p>
      </dsp:txBody>
      <dsp:txXfrm>
        <a:off x="4283561" y="4502796"/>
        <a:ext cx="2193245" cy="1361782"/>
      </dsp:txXfrm>
    </dsp:sp>
    <dsp:sp modelId="{8BC1D1BF-EB2B-4B05-8780-347EF1194ED4}">
      <dsp:nvSpPr>
        <dsp:cNvPr id="0" name=""/>
        <dsp:cNvSpPr/>
      </dsp:nvSpPr>
      <dsp:spPr>
        <a:xfrm>
          <a:off x="3988085" y="6329005"/>
          <a:ext cx="2277979" cy="1446516"/>
        </a:xfrm>
        <a:prstGeom prst="roundRect">
          <a:avLst>
            <a:gd name="adj" fmla="val 10000"/>
          </a:avLst>
        </a:prstGeom>
        <a:solidFill>
          <a:srgbClr val="565087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ECEB01-001F-48D2-987E-77C73DCBB566}">
      <dsp:nvSpPr>
        <dsp:cNvPr id="0" name=""/>
        <dsp:cNvSpPr/>
      </dsp:nvSpPr>
      <dsp:spPr>
        <a:xfrm>
          <a:off x="4241194" y="6569458"/>
          <a:ext cx="2277979" cy="1446516"/>
        </a:xfrm>
        <a:prstGeom prst="roundRect">
          <a:avLst>
            <a:gd name="adj" fmla="val 10000"/>
          </a:avLst>
        </a:prstGeom>
        <a:solidFill>
          <a:srgbClr val="CDCDEB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Подготавливаемая документация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Должностные инструкции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Локальные акты организации </a:t>
          </a:r>
        </a:p>
      </dsp:txBody>
      <dsp:txXfrm>
        <a:off x="4283561" y="6611825"/>
        <a:ext cx="2193245" cy="1361782"/>
      </dsp:txXfrm>
    </dsp:sp>
    <dsp:sp modelId="{1A3FCCDE-0A5B-44F6-BF5A-D16505D51FFB}">
      <dsp:nvSpPr>
        <dsp:cNvPr id="0" name=""/>
        <dsp:cNvSpPr/>
      </dsp:nvSpPr>
      <dsp:spPr>
        <a:xfrm>
          <a:off x="8060937" y="2110947"/>
          <a:ext cx="2484865" cy="1446516"/>
        </a:xfrm>
        <a:prstGeom prst="roundRect">
          <a:avLst>
            <a:gd name="adj" fmla="val 10000"/>
          </a:avLst>
        </a:prstGeom>
        <a:solidFill>
          <a:srgbClr val="CDCDEB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9B06A6-DDC3-4C13-9332-5A852F854E1A}">
      <dsp:nvSpPr>
        <dsp:cNvPr id="0" name=""/>
        <dsp:cNvSpPr/>
      </dsp:nvSpPr>
      <dsp:spPr>
        <a:xfrm>
          <a:off x="8314046" y="2351400"/>
          <a:ext cx="2484865" cy="1446516"/>
        </a:xfrm>
        <a:prstGeom prst="roundRect">
          <a:avLst>
            <a:gd name="adj" fmla="val 10000"/>
          </a:avLst>
        </a:prstGeom>
        <a:solidFill>
          <a:srgbClr val="565087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bg1"/>
              </a:solidFill>
            </a:rPr>
            <a:t>Органы исполнительной власти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bg1"/>
              </a:solidFill>
            </a:rPr>
            <a:t>(Прокуратура)</a:t>
          </a:r>
        </a:p>
      </dsp:txBody>
      <dsp:txXfrm>
        <a:off x="8356413" y="2393767"/>
        <a:ext cx="2400131" cy="1361782"/>
      </dsp:txXfrm>
    </dsp:sp>
    <dsp:sp modelId="{64457035-7603-49D7-B512-D5CC4A7F4DA8}">
      <dsp:nvSpPr>
        <dsp:cNvPr id="0" name=""/>
        <dsp:cNvSpPr/>
      </dsp:nvSpPr>
      <dsp:spPr>
        <a:xfrm>
          <a:off x="6772282" y="4219976"/>
          <a:ext cx="2277979" cy="1446516"/>
        </a:xfrm>
        <a:prstGeom prst="roundRect">
          <a:avLst>
            <a:gd name="adj" fmla="val 10000"/>
          </a:avLst>
        </a:prstGeom>
        <a:solidFill>
          <a:srgbClr val="CDCDEB"/>
        </a:solidFill>
        <a:ln w="12700" cap="flat" cmpd="sng" algn="ctr">
          <a:solidFill>
            <a:srgbClr val="9D9DD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AF5D0B-756B-4D62-A132-22AAC1FCF2D8}">
      <dsp:nvSpPr>
        <dsp:cNvPr id="0" name=""/>
        <dsp:cNvSpPr/>
      </dsp:nvSpPr>
      <dsp:spPr>
        <a:xfrm>
          <a:off x="7025391" y="4460429"/>
          <a:ext cx="2277979" cy="1446516"/>
        </a:xfrm>
        <a:prstGeom prst="roundRect">
          <a:avLst>
            <a:gd name="adj" fmla="val 10000"/>
          </a:avLst>
        </a:prstGeom>
        <a:solidFill>
          <a:srgbClr val="565087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solidFill>
                <a:schemeClr val="bg1"/>
              </a:solidFill>
            </a:rPr>
            <a:t>Основания проверки </a:t>
          </a:r>
        </a:p>
      </dsp:txBody>
      <dsp:txXfrm>
        <a:off x="7067758" y="4502796"/>
        <a:ext cx="2193245" cy="1361782"/>
      </dsp:txXfrm>
    </dsp:sp>
    <dsp:sp modelId="{A193D97B-8884-4EF5-B522-1F8ABD432A2F}">
      <dsp:nvSpPr>
        <dsp:cNvPr id="0" name=""/>
        <dsp:cNvSpPr/>
      </dsp:nvSpPr>
      <dsp:spPr>
        <a:xfrm>
          <a:off x="6772282" y="6329005"/>
          <a:ext cx="2277979" cy="1446516"/>
        </a:xfrm>
        <a:prstGeom prst="roundRect">
          <a:avLst>
            <a:gd name="adj" fmla="val 10000"/>
          </a:avLst>
        </a:prstGeom>
        <a:solidFill>
          <a:srgbClr val="CDCDEB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A9DD50-CC53-46F9-B478-9DC5E91884A9}">
      <dsp:nvSpPr>
        <dsp:cNvPr id="0" name=""/>
        <dsp:cNvSpPr/>
      </dsp:nvSpPr>
      <dsp:spPr>
        <a:xfrm>
          <a:off x="7025391" y="6569458"/>
          <a:ext cx="2277979" cy="1446516"/>
        </a:xfrm>
        <a:prstGeom prst="roundRect">
          <a:avLst>
            <a:gd name="adj" fmla="val 10000"/>
          </a:avLst>
        </a:prstGeom>
        <a:solidFill>
          <a:srgbClr val="565087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>
              <a:solidFill>
                <a:schemeClr val="bg1"/>
              </a:solidFill>
            </a:rPr>
            <a:t>273 ФЗ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>
              <a:solidFill>
                <a:schemeClr val="bg1"/>
              </a:solidFill>
            </a:rPr>
            <a:t>Федеральные требования к документационной нагрузке и предоставлении информации 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/>
        </a:p>
      </dsp:txBody>
      <dsp:txXfrm>
        <a:off x="7067758" y="6611825"/>
        <a:ext cx="2193245" cy="1361782"/>
      </dsp:txXfrm>
    </dsp:sp>
    <dsp:sp modelId="{4D5670E1-582B-46FB-A0D0-3C3CD332677C}">
      <dsp:nvSpPr>
        <dsp:cNvPr id="0" name=""/>
        <dsp:cNvSpPr/>
      </dsp:nvSpPr>
      <dsp:spPr>
        <a:xfrm>
          <a:off x="9556478" y="4219976"/>
          <a:ext cx="2277979" cy="1446516"/>
        </a:xfrm>
        <a:prstGeom prst="roundRect">
          <a:avLst>
            <a:gd name="adj" fmla="val 10000"/>
          </a:avLst>
        </a:prstGeom>
        <a:solidFill>
          <a:srgbClr val="CDCDEB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6A1DD7-1B0E-408D-81B7-BF6F50B64F7E}">
      <dsp:nvSpPr>
        <dsp:cNvPr id="0" name=""/>
        <dsp:cNvSpPr/>
      </dsp:nvSpPr>
      <dsp:spPr>
        <a:xfrm>
          <a:off x="9809587" y="4460429"/>
          <a:ext cx="2277979" cy="1446516"/>
        </a:xfrm>
        <a:prstGeom prst="roundRect">
          <a:avLst>
            <a:gd name="adj" fmla="val 10000"/>
          </a:avLst>
        </a:prstGeom>
        <a:solidFill>
          <a:srgbClr val="565087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solidFill>
                <a:schemeClr val="bg1"/>
              </a:solidFill>
            </a:rPr>
            <a:t>Предмет проверки </a:t>
          </a:r>
        </a:p>
      </dsp:txBody>
      <dsp:txXfrm>
        <a:off x="9851954" y="4502796"/>
        <a:ext cx="2193245" cy="1361782"/>
      </dsp:txXfrm>
    </dsp:sp>
    <dsp:sp modelId="{E9253DBD-E789-4095-AF77-A96EC3DFF9F1}">
      <dsp:nvSpPr>
        <dsp:cNvPr id="0" name=""/>
        <dsp:cNvSpPr/>
      </dsp:nvSpPr>
      <dsp:spPr>
        <a:xfrm>
          <a:off x="9556478" y="6329005"/>
          <a:ext cx="2277979" cy="1446516"/>
        </a:xfrm>
        <a:prstGeom prst="roundRect">
          <a:avLst>
            <a:gd name="adj" fmla="val 10000"/>
          </a:avLst>
        </a:prstGeom>
        <a:solidFill>
          <a:srgbClr val="CDCDEB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0235C7-E3A0-4C25-93D3-2750B1FE3D81}">
      <dsp:nvSpPr>
        <dsp:cNvPr id="0" name=""/>
        <dsp:cNvSpPr/>
      </dsp:nvSpPr>
      <dsp:spPr>
        <a:xfrm>
          <a:off x="9809587" y="6569458"/>
          <a:ext cx="2277979" cy="1446516"/>
        </a:xfrm>
        <a:prstGeom prst="roundRect">
          <a:avLst>
            <a:gd name="adj" fmla="val 10000"/>
          </a:avLst>
        </a:prstGeom>
        <a:solidFill>
          <a:srgbClr val="565087">
            <a:alpha val="90000"/>
          </a:srgb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>
              <a:solidFill>
                <a:schemeClr val="bg1"/>
              </a:solidFill>
            </a:rPr>
            <a:t>Исходящие запросы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>
              <a:solidFill>
                <a:schemeClr val="bg1"/>
              </a:solidFill>
            </a:rPr>
            <a:t>Информационные системы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>
              <a:solidFill>
                <a:schemeClr val="bg1"/>
              </a:solidFill>
            </a:rPr>
            <a:t>Мониторинги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>
              <a:solidFill>
                <a:schemeClr val="bg1"/>
              </a:solidFill>
            </a:rPr>
            <a:t>Федеральные требования и рекомендация к осуществлению образовательной деятельности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/>
        </a:p>
      </dsp:txBody>
      <dsp:txXfrm>
        <a:off x="9851954" y="6611825"/>
        <a:ext cx="2193245" cy="136178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449442-8C33-4B57-BEA7-B9654F014B07}">
      <dsp:nvSpPr>
        <dsp:cNvPr id="0" name=""/>
        <dsp:cNvSpPr/>
      </dsp:nvSpPr>
      <dsp:spPr>
        <a:xfrm>
          <a:off x="4971501" y="808117"/>
          <a:ext cx="169042" cy="740568"/>
        </a:xfrm>
        <a:custGeom>
          <a:avLst/>
          <a:gdLst/>
          <a:ahLst/>
          <a:cxnLst/>
          <a:rect l="0" t="0" r="0" b="0"/>
          <a:pathLst>
            <a:path>
              <a:moveTo>
                <a:pt x="169042" y="0"/>
              </a:moveTo>
              <a:lnTo>
                <a:pt x="169042" y="740568"/>
              </a:lnTo>
              <a:lnTo>
                <a:pt x="0" y="74056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07D757-7DAA-49BC-A28A-32088A4E6740}">
      <dsp:nvSpPr>
        <dsp:cNvPr id="0" name=""/>
        <dsp:cNvSpPr/>
      </dsp:nvSpPr>
      <dsp:spPr>
        <a:xfrm>
          <a:off x="5583877" y="6523374"/>
          <a:ext cx="371022" cy="7405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0568"/>
              </a:lnTo>
              <a:lnTo>
                <a:pt x="371022" y="74056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227BA0-D4A8-4B16-B356-887C116FEC3A}">
      <dsp:nvSpPr>
        <dsp:cNvPr id="0" name=""/>
        <dsp:cNvSpPr/>
      </dsp:nvSpPr>
      <dsp:spPr>
        <a:xfrm>
          <a:off x="6527550" y="5380323"/>
          <a:ext cx="91440" cy="3380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80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CF3D7B-C06D-44AC-AF63-AD87675593F6}">
      <dsp:nvSpPr>
        <dsp:cNvPr id="0" name=""/>
        <dsp:cNvSpPr/>
      </dsp:nvSpPr>
      <dsp:spPr>
        <a:xfrm>
          <a:off x="6527550" y="4237271"/>
          <a:ext cx="91440" cy="3380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80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2A3F54-2B77-4E2B-B001-2D8C0E2304DE}">
      <dsp:nvSpPr>
        <dsp:cNvPr id="0" name=""/>
        <dsp:cNvSpPr/>
      </dsp:nvSpPr>
      <dsp:spPr>
        <a:xfrm>
          <a:off x="6527550" y="3094220"/>
          <a:ext cx="91440" cy="3380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80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D95A8F-A472-4EC6-B94B-D9918AA44C20}">
      <dsp:nvSpPr>
        <dsp:cNvPr id="0" name=""/>
        <dsp:cNvSpPr/>
      </dsp:nvSpPr>
      <dsp:spPr>
        <a:xfrm>
          <a:off x="5140544" y="808117"/>
          <a:ext cx="1432726" cy="14811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2094"/>
              </a:lnTo>
              <a:lnTo>
                <a:pt x="1432726" y="1312094"/>
              </a:lnTo>
              <a:lnTo>
                <a:pt x="1432726" y="14811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C9AE70-6F56-4D63-AD53-852F83FAA370}">
      <dsp:nvSpPr>
        <dsp:cNvPr id="0" name=""/>
        <dsp:cNvSpPr/>
      </dsp:nvSpPr>
      <dsp:spPr>
        <a:xfrm>
          <a:off x="3734760" y="808117"/>
          <a:ext cx="1405784" cy="1481137"/>
        </a:xfrm>
        <a:custGeom>
          <a:avLst/>
          <a:gdLst/>
          <a:ahLst/>
          <a:cxnLst/>
          <a:rect l="0" t="0" r="0" b="0"/>
          <a:pathLst>
            <a:path>
              <a:moveTo>
                <a:pt x="1405784" y="0"/>
              </a:moveTo>
              <a:lnTo>
                <a:pt x="1405784" y="1312094"/>
              </a:lnTo>
              <a:lnTo>
                <a:pt x="0" y="1312094"/>
              </a:lnTo>
              <a:lnTo>
                <a:pt x="0" y="14811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B9A4D9-1915-4C2A-B50E-452B88CD8BAD}">
      <dsp:nvSpPr>
        <dsp:cNvPr id="0" name=""/>
        <dsp:cNvSpPr/>
      </dsp:nvSpPr>
      <dsp:spPr>
        <a:xfrm>
          <a:off x="3758015" y="3151"/>
          <a:ext cx="2765057" cy="804965"/>
        </a:xfrm>
        <a:prstGeom prst="rect">
          <a:avLst/>
        </a:prstGeom>
        <a:solidFill>
          <a:srgbClr val="C0000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/>
            <a:t>Обращение</a:t>
          </a:r>
          <a:r>
            <a:rPr lang="ru-RU" sz="2900" kern="1200" dirty="0"/>
            <a:t>  </a:t>
          </a:r>
        </a:p>
      </dsp:txBody>
      <dsp:txXfrm>
        <a:off x="3758015" y="3151"/>
        <a:ext cx="2765057" cy="804965"/>
      </dsp:txXfrm>
    </dsp:sp>
    <dsp:sp modelId="{E7A71232-DD6C-4471-B3C7-8D8DFC7D5D20}">
      <dsp:nvSpPr>
        <dsp:cNvPr id="0" name=""/>
        <dsp:cNvSpPr/>
      </dsp:nvSpPr>
      <dsp:spPr>
        <a:xfrm>
          <a:off x="2471076" y="2289254"/>
          <a:ext cx="2527367" cy="804965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/>
            <a:t>Сортировка по темам </a:t>
          </a:r>
        </a:p>
      </dsp:txBody>
      <dsp:txXfrm>
        <a:off x="2471076" y="2289254"/>
        <a:ext cx="2527367" cy="804965"/>
      </dsp:txXfrm>
    </dsp:sp>
    <dsp:sp modelId="{5DC74452-57DD-4D4C-A33A-7915B1B5A127}">
      <dsp:nvSpPr>
        <dsp:cNvPr id="0" name=""/>
        <dsp:cNvSpPr/>
      </dsp:nvSpPr>
      <dsp:spPr>
        <a:xfrm>
          <a:off x="5336529" y="2289254"/>
          <a:ext cx="2473482" cy="804965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/>
            <a:t>Сортировка по регионам </a:t>
          </a:r>
        </a:p>
      </dsp:txBody>
      <dsp:txXfrm>
        <a:off x="5336529" y="2289254"/>
        <a:ext cx="2473482" cy="804965"/>
      </dsp:txXfrm>
    </dsp:sp>
    <dsp:sp modelId="{08F8D1A6-84B4-4446-A759-18A42B149263}">
      <dsp:nvSpPr>
        <dsp:cNvPr id="0" name=""/>
        <dsp:cNvSpPr/>
      </dsp:nvSpPr>
      <dsp:spPr>
        <a:xfrm>
          <a:off x="5336529" y="3432306"/>
          <a:ext cx="2473482" cy="804965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/>
            <a:t>Отправка в РОИВ</a:t>
          </a:r>
        </a:p>
      </dsp:txBody>
      <dsp:txXfrm>
        <a:off x="5336529" y="3432306"/>
        <a:ext cx="2473482" cy="804965"/>
      </dsp:txXfrm>
    </dsp:sp>
    <dsp:sp modelId="{555970C1-F91D-4BEA-B57E-55A366F41967}">
      <dsp:nvSpPr>
        <dsp:cNvPr id="0" name=""/>
        <dsp:cNvSpPr/>
      </dsp:nvSpPr>
      <dsp:spPr>
        <a:xfrm>
          <a:off x="5336529" y="4575357"/>
          <a:ext cx="2473482" cy="804965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/>
            <a:t>Контроль результата </a:t>
          </a:r>
        </a:p>
      </dsp:txBody>
      <dsp:txXfrm>
        <a:off x="5336529" y="4575357"/>
        <a:ext cx="2473482" cy="804965"/>
      </dsp:txXfrm>
    </dsp:sp>
    <dsp:sp modelId="{3FF1D505-F108-44CF-B2D4-9F98D796A4D0}">
      <dsp:nvSpPr>
        <dsp:cNvPr id="0" name=""/>
        <dsp:cNvSpPr/>
      </dsp:nvSpPr>
      <dsp:spPr>
        <a:xfrm>
          <a:off x="5336529" y="5718408"/>
          <a:ext cx="2473482" cy="804965"/>
        </a:xfrm>
        <a:prstGeom prst="rect">
          <a:avLst/>
        </a:prstGeom>
        <a:solidFill>
          <a:srgbClr val="C0000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/>
            <a:t>Проблема не решена </a:t>
          </a:r>
        </a:p>
      </dsp:txBody>
      <dsp:txXfrm>
        <a:off x="5336529" y="5718408"/>
        <a:ext cx="2473482" cy="804965"/>
      </dsp:txXfrm>
    </dsp:sp>
    <dsp:sp modelId="{4B641B23-6DF0-4FB2-852F-8EEC5B82E9FD}">
      <dsp:nvSpPr>
        <dsp:cNvPr id="0" name=""/>
        <dsp:cNvSpPr/>
      </dsp:nvSpPr>
      <dsp:spPr>
        <a:xfrm>
          <a:off x="5954900" y="6861460"/>
          <a:ext cx="2528703" cy="804965"/>
        </a:xfrm>
        <a:prstGeom prst="rect">
          <a:avLst/>
        </a:prstGeom>
        <a:solidFill>
          <a:srgbClr val="423D67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/>
            <a:t>Рособрнадзор </a:t>
          </a:r>
        </a:p>
      </dsp:txBody>
      <dsp:txXfrm>
        <a:off x="5954900" y="6861460"/>
        <a:ext cx="2528703" cy="804965"/>
      </dsp:txXfrm>
    </dsp:sp>
    <dsp:sp modelId="{E0B8EAC7-F880-4316-8AD8-B2B956CD5CA7}">
      <dsp:nvSpPr>
        <dsp:cNvPr id="0" name=""/>
        <dsp:cNvSpPr/>
      </dsp:nvSpPr>
      <dsp:spPr>
        <a:xfrm>
          <a:off x="2217053" y="1146203"/>
          <a:ext cx="2754448" cy="804965"/>
        </a:xfrm>
        <a:prstGeom prst="rect">
          <a:avLst/>
        </a:prstGeom>
        <a:solidFill>
          <a:srgbClr val="423D67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/>
            <a:t>Банк Рособрнадзора  </a:t>
          </a:r>
        </a:p>
      </dsp:txBody>
      <dsp:txXfrm>
        <a:off x="2217053" y="1146203"/>
        <a:ext cx="2754448" cy="8049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F0F3D3-884F-8E45-98AB-E8ADE6E0FD28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1425"/>
            <a:ext cx="47371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BCF3A-9B41-AC48-BBC4-8EC043A9334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923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A343DE-2F37-49F6-AB86-5673E47094E6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0066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478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233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234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7536420" y="0"/>
            <a:ext cx="7582932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548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10039700" y="0"/>
            <a:ext cx="5079650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6924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723034" y="-57713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965877" y="-200837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930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2848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869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101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10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24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875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6707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97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3202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9942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2914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32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487248" y="888"/>
            <a:ext cx="1530949" cy="1604132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4122" y="334963"/>
            <a:ext cx="900953" cy="816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116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6950503" y="0"/>
            <a:ext cx="8168855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34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1905000" y="11"/>
            <a:ext cx="1352732" cy="1339448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3257738" y="11"/>
            <a:ext cx="1861619" cy="13394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3480750" y="220281"/>
            <a:ext cx="1638602" cy="87677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6444827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761796" y="11"/>
            <a:ext cx="1352732" cy="1339448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2114534" y="11"/>
            <a:ext cx="3004823" cy="1339448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14535" y="220281"/>
            <a:ext cx="3004823" cy="87677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4059931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2181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290360" y="11"/>
            <a:ext cx="1352732" cy="1339448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643096" y="11"/>
            <a:ext cx="3476261" cy="1339448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1485951" y="220281"/>
            <a:ext cx="3633407" cy="87677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17759600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7501985" y="4837850"/>
            <a:ext cx="7617368" cy="5853974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3495703" y="2"/>
            <a:ext cx="2933003" cy="2687688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961538" y="3592719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5278" y="3274936"/>
            <a:ext cx="8027766" cy="934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73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364893" y="9307592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519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5791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154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48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831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436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162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5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24" r:id="rId13"/>
    <p:sldLayoutId id="2147483741" r:id="rId14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2383" y="2361"/>
          <a:ext cx="2381" cy="2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2F748563-03E9-41A8-A6E7-4A74CBEB3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383" y="2361"/>
                        <a:ext cx="2381" cy="2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373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733" r:id="rId13"/>
    <p:sldLayoutId id="2147483735" r:id="rId14"/>
    <p:sldLayoutId id="2147483736" r:id="rId15"/>
    <p:sldLayoutId id="2147483737" r:id="rId16"/>
    <p:sldLayoutId id="2147483738" r:id="rId17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jpg"/><Relationship Id="rId7" Type="http://schemas.openxmlformats.org/officeDocument/2006/relationships/diagramColors" Target="../diagrams/colors1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1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1052532" y="4495417"/>
            <a:ext cx="7917296" cy="4278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r>
              <a:rPr lang="ru-RU" sz="36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ПО СНИЖЕНИЮ БЮРОКРАТИЧЕСКОЙ  НАГРУЗКИ В СИСТЕМЕ ОБРАЗОВАНИЯ</a:t>
            </a:r>
          </a:p>
          <a:p>
            <a:endParaRPr lang="ru-RU" sz="36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тыникова Н.В.</a:t>
            </a:r>
          </a:p>
          <a:p>
            <a:r>
              <a:rPr lang="ru-RU" sz="2400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ник руководителя Рособрнадзора  </a:t>
            </a:r>
          </a:p>
          <a:p>
            <a:endParaRPr lang="ru-RU" sz="36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44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960" y="1663059"/>
            <a:ext cx="2136626" cy="1935349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-764739" y="7205470"/>
            <a:ext cx="2451688" cy="2284219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442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413337" y="447363"/>
            <a:ext cx="994377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СНОВНЫЕ ЗАДАЧИ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84EFA50-6277-3429-C8BF-59F6A8F3A225}"/>
              </a:ext>
            </a:extLst>
          </p:cNvPr>
          <p:cNvSpPr/>
          <p:nvPr/>
        </p:nvSpPr>
        <p:spPr>
          <a:xfrm>
            <a:off x="1120737" y="8687478"/>
            <a:ext cx="6390806" cy="130628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сечь все лишнее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91E325C-A812-7B64-E278-9AB1D64A0E10}"/>
              </a:ext>
            </a:extLst>
          </p:cNvPr>
          <p:cNvSpPr/>
          <p:nvPr/>
        </p:nvSpPr>
        <p:spPr>
          <a:xfrm>
            <a:off x="7753185" y="8664642"/>
            <a:ext cx="6156960" cy="130628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ставить нужное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FCD464E-CD52-93D5-49A1-196410869A2E}"/>
              </a:ext>
            </a:extLst>
          </p:cNvPr>
          <p:cNvSpPr/>
          <p:nvPr/>
        </p:nvSpPr>
        <p:spPr>
          <a:xfrm>
            <a:off x="1133856" y="2572512"/>
            <a:ext cx="2511552" cy="2450592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2000" b="1" dirty="0">
                <a:solidFill>
                  <a:srgbClr val="423D67"/>
                </a:solidFill>
              </a:rPr>
              <a:t>Снижение и  конкретизация объема документации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D94A4F1-086A-3F9B-6C58-893AAA6F57B9}"/>
              </a:ext>
            </a:extLst>
          </p:cNvPr>
          <p:cNvSpPr/>
          <p:nvPr/>
        </p:nvSpPr>
        <p:spPr>
          <a:xfrm>
            <a:off x="3797807" y="2572512"/>
            <a:ext cx="2420112" cy="2450592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2000" b="1" dirty="0">
                <a:solidFill>
                  <a:srgbClr val="423D67"/>
                </a:solidFill>
              </a:rPr>
              <a:t>Снижение  объема мониторингов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C0FA02B-5423-A36B-1A25-5FBAA709136C}"/>
              </a:ext>
            </a:extLst>
          </p:cNvPr>
          <p:cNvSpPr/>
          <p:nvPr/>
        </p:nvSpPr>
        <p:spPr>
          <a:xfrm>
            <a:off x="6370318" y="2572512"/>
            <a:ext cx="2548129" cy="2450592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2000" b="1" dirty="0">
                <a:solidFill>
                  <a:srgbClr val="423D67"/>
                </a:solidFill>
              </a:rPr>
              <a:t>Оптимизация и интеграция  информационных систем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7E1291E-19A0-F188-A7E4-E4B3F44730AE}"/>
              </a:ext>
            </a:extLst>
          </p:cNvPr>
          <p:cNvSpPr/>
          <p:nvPr/>
        </p:nvSpPr>
        <p:spPr>
          <a:xfrm>
            <a:off x="9070846" y="2572512"/>
            <a:ext cx="2316217" cy="2450592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423D67"/>
                </a:solidFill>
              </a:rPr>
              <a:t>Снижение количества запросов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7A6E696-12C1-61A8-B2C0-DE745C8429CB}"/>
              </a:ext>
            </a:extLst>
          </p:cNvPr>
          <p:cNvSpPr/>
          <p:nvPr/>
        </p:nvSpPr>
        <p:spPr>
          <a:xfrm>
            <a:off x="1120735" y="5233885"/>
            <a:ext cx="12789409" cy="1306285"/>
          </a:xfrm>
          <a:prstGeom prst="rect">
            <a:avLst/>
          </a:prstGeom>
          <a:solidFill>
            <a:srgbClr val="9D9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423D67"/>
                </a:solidFill>
              </a:rPr>
              <a:t>Формирование  механизма контрольно-надзорной деятельности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7A897C9-79B6-43AE-FB0A-70632CC2F2BD}"/>
              </a:ext>
            </a:extLst>
          </p:cNvPr>
          <p:cNvSpPr/>
          <p:nvPr/>
        </p:nvSpPr>
        <p:spPr>
          <a:xfrm>
            <a:off x="11539462" y="2572512"/>
            <a:ext cx="2316217" cy="2450592"/>
          </a:xfrm>
          <a:prstGeom prst="rect">
            <a:avLst/>
          </a:prstGeom>
          <a:solidFill>
            <a:srgbClr val="9D9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 Конкретизация функционала педагогических работников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0CF704E-F0E7-15BE-CC66-9620C53DDADD}"/>
              </a:ext>
            </a:extLst>
          </p:cNvPr>
          <p:cNvSpPr/>
          <p:nvPr/>
        </p:nvSpPr>
        <p:spPr>
          <a:xfrm>
            <a:off x="1120736" y="6750951"/>
            <a:ext cx="12789409" cy="1306285"/>
          </a:xfrm>
          <a:prstGeom prst="rect">
            <a:avLst/>
          </a:prstGeom>
          <a:solidFill>
            <a:srgbClr val="9D9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423D67"/>
                </a:solidFill>
              </a:rPr>
              <a:t>Формирование  механизма административных наказаний за нарушение требований к документационной нагрузке 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921A035-F4CB-7AF4-8CB8-279B2DCB4944}"/>
              </a:ext>
            </a:extLst>
          </p:cNvPr>
          <p:cNvCxnSpPr/>
          <p:nvPr/>
        </p:nvCxnSpPr>
        <p:spPr>
          <a:xfrm>
            <a:off x="1120736" y="8388096"/>
            <a:ext cx="12734943" cy="0"/>
          </a:xfrm>
          <a:prstGeom prst="line">
            <a:avLst/>
          </a:prstGeom>
          <a:ln w="76200">
            <a:solidFill>
              <a:srgbClr val="9D9D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5500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0152AA-019F-4902-F691-6912148B0D0C}"/>
              </a:ext>
            </a:extLst>
          </p:cNvPr>
          <p:cNvSpPr txBox="1"/>
          <p:nvPr/>
        </p:nvSpPr>
        <p:spPr>
          <a:xfrm>
            <a:off x="1580428" y="627297"/>
            <a:ext cx="10745535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ЗАКОНОДАТЕЛЬНАЯ ИНИЦИАТИВА - 2024   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8A6633E9-CF07-F6E5-23CD-04618BD04A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2110595"/>
              </p:ext>
            </p:extLst>
          </p:nvPr>
        </p:nvGraphicFramePr>
        <p:xfrm>
          <a:off x="3107720" y="1986050"/>
          <a:ext cx="10079567" cy="67197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EF8C885-B330-0A68-DAFB-F5FC69536748}"/>
              </a:ext>
            </a:extLst>
          </p:cNvPr>
          <p:cNvSpPr/>
          <p:nvPr/>
        </p:nvSpPr>
        <p:spPr>
          <a:xfrm>
            <a:off x="3107720" y="8860971"/>
            <a:ext cx="10079567" cy="140425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Административная ответственность за запросы и требования свыше установленных законодательством норм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06C750-680D-D6BC-E012-19625EBC94CB}"/>
              </a:ext>
            </a:extLst>
          </p:cNvPr>
          <p:cNvSpPr txBox="1"/>
          <p:nvPr/>
        </p:nvSpPr>
        <p:spPr>
          <a:xfrm>
            <a:off x="1143000" y="3668486"/>
            <a:ext cx="15888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/>
              <a:t>273 ФЗ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9CFDF6-0334-7266-B2EE-5A5CB9524C05}"/>
              </a:ext>
            </a:extLst>
          </p:cNvPr>
          <p:cNvSpPr txBox="1"/>
          <p:nvPr/>
        </p:nvSpPr>
        <p:spPr>
          <a:xfrm>
            <a:off x="1240972" y="9394371"/>
            <a:ext cx="1093954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КОАП</a:t>
            </a:r>
          </a:p>
        </p:txBody>
      </p:sp>
    </p:spTree>
    <p:extLst>
      <p:ext uri="{BB962C8B-B14F-4D97-AF65-F5344CB8AC3E}">
        <p14:creationId xmlns:p14="http://schemas.microsoft.com/office/powerpoint/2010/main" val="27250889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580428" y="627297"/>
            <a:ext cx="10745535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ПЕРЕЧНИ ДОКУМЕНТОВ ПЕДАГОГОВ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3339377" y="2673627"/>
            <a:ext cx="9187061" cy="973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32" dirty="0"/>
          </a:p>
          <a:p>
            <a:endParaRPr lang="ru-RU" sz="1432" dirty="0"/>
          </a:p>
          <a:p>
            <a:endParaRPr lang="ru-RU" sz="1432" dirty="0"/>
          </a:p>
          <a:p>
            <a:r>
              <a:rPr lang="ru-RU" sz="1432" dirty="0"/>
              <a:t>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D81000E-6CB2-AD59-04FB-BBE02A4DF18D}"/>
              </a:ext>
            </a:extLst>
          </p:cNvPr>
          <p:cNvSpPr/>
          <p:nvPr/>
        </p:nvSpPr>
        <p:spPr>
          <a:xfrm>
            <a:off x="923058" y="2815053"/>
            <a:ext cx="3098594" cy="528155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Воспитатель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Журнал посещаемости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Календарно-тематический план  </a:t>
            </a:r>
          </a:p>
          <a:p>
            <a:pPr marL="425230" indent="-425230">
              <a:buAutoNum type="arabicPeriod"/>
            </a:pPr>
            <a:endParaRPr lang="ru-RU" sz="1736" dirty="0">
              <a:solidFill>
                <a:srgbClr val="423D67"/>
              </a:solidFill>
            </a:endParaRPr>
          </a:p>
          <a:p>
            <a:pPr algn="ctr"/>
            <a:endParaRPr lang="ru-RU" sz="1736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92BD6E8-46B8-4448-2E18-AEAFAB8D1C40}"/>
              </a:ext>
            </a:extLst>
          </p:cNvPr>
          <p:cNvSpPr/>
          <p:nvPr/>
        </p:nvSpPr>
        <p:spPr>
          <a:xfrm>
            <a:off x="4329148" y="2815053"/>
            <a:ext cx="3193608" cy="528155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Учитель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Рабочая программа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Журнал внеурочной деятельности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План воспитательной работы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Характеристика на обучающегося по запросу</a:t>
            </a:r>
          </a:p>
          <a:p>
            <a:pPr algn="ctr"/>
            <a:endParaRPr lang="ru-RU" sz="1736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4960" b="1" dirty="0">
                <a:solidFill>
                  <a:srgbClr val="423D67"/>
                </a:solidFill>
              </a:rPr>
              <a:t>2024 год  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EC3D4BA-DD85-B186-EDFF-129341C9B0C3}"/>
              </a:ext>
            </a:extLst>
          </p:cNvPr>
          <p:cNvSpPr/>
          <p:nvPr/>
        </p:nvSpPr>
        <p:spPr>
          <a:xfrm>
            <a:off x="7830252" y="2815053"/>
            <a:ext cx="3077234" cy="528155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 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Преподаватель  СПО </a:t>
            </a:r>
          </a:p>
          <a:p>
            <a:pPr algn="ctr"/>
            <a:endParaRPr lang="ru-RU" sz="1800" b="1" dirty="0">
              <a:solidFill>
                <a:srgbClr val="423D67"/>
              </a:solidFill>
            </a:endParaRP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Рабочая программа</a:t>
            </a:r>
            <a:r>
              <a:rPr lang="ru-RU" sz="1800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дисциплины, модуля, курса, практики</a:t>
            </a:r>
            <a:r>
              <a:rPr lang="ru-RU" sz="1800" dirty="0">
                <a:solidFill>
                  <a:srgbClr val="423D67"/>
                </a:solidFill>
              </a:rPr>
              <a:t>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Журнал практики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Экзаменационная</a:t>
            </a:r>
            <a:r>
              <a:rPr lang="en-US" sz="1800" dirty="0">
                <a:solidFill>
                  <a:srgbClr val="423D67"/>
                </a:solidFill>
              </a:rPr>
              <a:t>/</a:t>
            </a:r>
            <a:r>
              <a:rPr lang="ru-RU" sz="1800" dirty="0">
                <a:solidFill>
                  <a:srgbClr val="423D67"/>
                </a:solidFill>
              </a:rPr>
              <a:t> зачетная ведомости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План воспитательной работы (для куратора)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Характеристика на обучающегося по запросу (для куратора)</a:t>
            </a:r>
          </a:p>
          <a:p>
            <a:pPr algn="ctr"/>
            <a:endParaRPr lang="ru-RU" sz="1800" b="1" dirty="0">
              <a:solidFill>
                <a:srgbClr val="423D67"/>
              </a:solidFill>
            </a:endParaRPr>
          </a:p>
          <a:p>
            <a:pPr algn="ctr"/>
            <a:endParaRPr lang="ru-RU" sz="173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A8732A9-FE62-CBDC-9F7D-1DF566799480}"/>
              </a:ext>
            </a:extLst>
          </p:cNvPr>
          <p:cNvSpPr/>
          <p:nvPr/>
        </p:nvSpPr>
        <p:spPr>
          <a:xfrm>
            <a:off x="11246405" y="2815053"/>
            <a:ext cx="3193607" cy="528155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Преподаватель </a:t>
            </a: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вуза </a:t>
            </a: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бочая программа дисциплины, модуля, курса, практики. </a:t>
            </a: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ый план работы преподавателя </a:t>
            </a: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Экзаменационная и (или) зачетная ведомость</a:t>
            </a:r>
          </a:p>
          <a:p>
            <a:pPr marL="425230" indent="-425230">
              <a:buAutoNum type="arabicPeriod"/>
            </a:pPr>
            <a:r>
              <a:rPr lang="ru-RU" sz="1600" dirty="0">
                <a:solidFill>
                  <a:srgbClr val="423D67"/>
                </a:solidFill>
              </a:rPr>
              <a:t>Характеристика на обучающегося по запросу (для куратора)</a:t>
            </a:r>
          </a:p>
          <a:p>
            <a:pPr algn="ctr"/>
            <a:endParaRPr lang="ru-RU" sz="1600" b="1" dirty="0">
              <a:solidFill>
                <a:srgbClr val="423D67"/>
              </a:solidFill>
            </a:endParaRPr>
          </a:p>
          <a:p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ctr"/>
            <a:endParaRPr lang="ru-RU" sz="1736" b="1" dirty="0">
              <a:solidFill>
                <a:srgbClr val="423D67"/>
              </a:solidFill>
            </a:endParaRPr>
          </a:p>
          <a:p>
            <a:pPr algn="ctr"/>
            <a:endParaRPr lang="ru-RU" sz="173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3303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FE3E72-E82C-7CBE-199D-FE1BFCB5A4C6}"/>
              </a:ext>
            </a:extLst>
          </p:cNvPr>
          <p:cNvSpPr txBox="1"/>
          <p:nvPr/>
        </p:nvSpPr>
        <p:spPr>
          <a:xfrm>
            <a:off x="1580428" y="627297"/>
            <a:ext cx="10745535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ОСНОВАНИЯ ДЛЯ ЗАПРОСОВ    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309B558B-F2FC-DAAB-CC0E-FBBA7A746D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2938798"/>
              </p:ext>
            </p:extLst>
          </p:nvPr>
        </p:nvGraphicFramePr>
        <p:xfrm>
          <a:off x="1913411" y="2349122"/>
          <a:ext cx="11479860" cy="7561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418839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2259067-3EDA-FE20-DD9D-3828BD2C9B0C}"/>
              </a:ext>
            </a:extLst>
          </p:cNvPr>
          <p:cNvSpPr txBox="1"/>
          <p:nvPr/>
        </p:nvSpPr>
        <p:spPr>
          <a:xfrm>
            <a:off x="1318353" y="452477"/>
            <a:ext cx="1145583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2800" b="1" dirty="0">
                <a:solidFill>
                  <a:srgbClr val="423D67"/>
                </a:solidFill>
                <a:latin typeface="Arial" panose="020B0604020202020204"/>
              </a:rPr>
              <a:t>ПИЛОТНАЯ АПРОБАЦИЯ ПОДХОДОВ ПО СНИЖЕНИЮ БЮРОКРАТИЧЕСКОЙ НАГРУЗКИ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1A8047-4577-6BBF-F706-3A2487A8D388}"/>
              </a:ext>
            </a:extLst>
          </p:cNvPr>
          <p:cNvSpPr txBox="1"/>
          <p:nvPr/>
        </p:nvSpPr>
        <p:spPr>
          <a:xfrm>
            <a:off x="1318353" y="2098297"/>
            <a:ext cx="4801314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indent="-514350">
              <a:buAutoNum type="arabicPeriod"/>
            </a:pPr>
            <a:r>
              <a:rPr lang="ru-RU" sz="2800" dirty="0">
                <a:solidFill>
                  <a:srgbClr val="423D67"/>
                </a:solidFill>
              </a:rPr>
              <a:t>г. Москва </a:t>
            </a:r>
          </a:p>
          <a:p>
            <a:pPr marL="514350" indent="-514350">
              <a:buAutoNum type="arabicPeriod"/>
            </a:pPr>
            <a:r>
              <a:rPr lang="ru-RU" sz="2800" dirty="0">
                <a:solidFill>
                  <a:srgbClr val="423D67"/>
                </a:solidFill>
              </a:rPr>
              <a:t>г. Санкт – Петербург </a:t>
            </a:r>
          </a:p>
          <a:p>
            <a:pPr marL="514350" indent="-514350">
              <a:buAutoNum type="arabicPeriod"/>
            </a:pPr>
            <a:r>
              <a:rPr lang="ru-RU" sz="2800" dirty="0">
                <a:solidFill>
                  <a:srgbClr val="423D67"/>
                </a:solidFill>
              </a:rPr>
              <a:t>Московская область </a:t>
            </a:r>
          </a:p>
          <a:p>
            <a:pPr marL="514350" indent="-514350">
              <a:buAutoNum type="arabicPeriod"/>
            </a:pPr>
            <a:r>
              <a:rPr lang="ru-RU" sz="2800" dirty="0">
                <a:solidFill>
                  <a:srgbClr val="423D67"/>
                </a:solidFill>
              </a:rPr>
              <a:t>Пензенская область </a:t>
            </a:r>
          </a:p>
          <a:p>
            <a:pPr marL="514350" indent="-514350">
              <a:buAutoNum type="arabicPeriod"/>
            </a:pPr>
            <a:r>
              <a:rPr lang="ru-RU" sz="2800" dirty="0">
                <a:solidFill>
                  <a:srgbClr val="423D67"/>
                </a:solidFill>
              </a:rPr>
              <a:t>Нижегородская область </a:t>
            </a:r>
          </a:p>
          <a:p>
            <a:pPr marL="514350" indent="-514350">
              <a:buAutoNum type="arabicPeriod"/>
            </a:pPr>
            <a:r>
              <a:rPr lang="ru-RU" sz="2800" dirty="0">
                <a:solidFill>
                  <a:srgbClr val="423D67"/>
                </a:solidFill>
              </a:rPr>
              <a:t>Владимирская область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F0C8569-13C2-F27A-960E-9933EC17FBC2}"/>
              </a:ext>
            </a:extLst>
          </p:cNvPr>
          <p:cNvSpPr txBox="1"/>
          <p:nvPr/>
        </p:nvSpPr>
        <p:spPr>
          <a:xfrm>
            <a:off x="7379558" y="2329051"/>
            <a:ext cx="6229975" cy="1200329"/>
          </a:xfrm>
          <a:prstGeom prst="rect">
            <a:avLst/>
          </a:prstGeom>
          <a:solidFill>
            <a:srgbClr val="CDCDEB"/>
          </a:solidFill>
        </p:spPr>
        <p:txBody>
          <a:bodyPr wrap="none" rtlCol="0">
            <a:spAutoFit/>
          </a:bodyPr>
          <a:lstStyle/>
          <a:p>
            <a:r>
              <a:rPr lang="ru-RU" sz="7200" dirty="0"/>
              <a:t>6</a:t>
            </a:r>
            <a:r>
              <a:rPr lang="ru-RU" sz="4400" dirty="0"/>
              <a:t> пилотных регионов  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F6FA108-5947-02E5-47B4-8BA3C214DDAE}"/>
              </a:ext>
            </a:extLst>
          </p:cNvPr>
          <p:cNvCxnSpPr/>
          <p:nvPr/>
        </p:nvCxnSpPr>
        <p:spPr>
          <a:xfrm>
            <a:off x="1132518" y="4977997"/>
            <a:ext cx="13196711" cy="0"/>
          </a:xfrm>
          <a:prstGeom prst="line">
            <a:avLst/>
          </a:prstGeom>
          <a:ln w="76200">
            <a:solidFill>
              <a:srgbClr val="565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6F5EC5ED-2AB1-724F-A705-BF9BA650BEDF}"/>
              </a:ext>
            </a:extLst>
          </p:cNvPr>
          <p:cNvCxnSpPr/>
          <p:nvPr/>
        </p:nvCxnSpPr>
        <p:spPr>
          <a:xfrm>
            <a:off x="1049867" y="8005237"/>
            <a:ext cx="13196711" cy="0"/>
          </a:xfrm>
          <a:prstGeom prst="line">
            <a:avLst/>
          </a:prstGeom>
          <a:ln w="76200">
            <a:solidFill>
              <a:srgbClr val="565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C895BEC-01B9-B352-D058-AC343DCC94E6}"/>
              </a:ext>
            </a:extLst>
          </p:cNvPr>
          <p:cNvSpPr txBox="1"/>
          <p:nvPr/>
        </p:nvSpPr>
        <p:spPr>
          <a:xfrm>
            <a:off x="1318353" y="9559232"/>
            <a:ext cx="12311634" cy="646331"/>
          </a:xfrm>
          <a:prstGeom prst="rect">
            <a:avLst/>
          </a:prstGeom>
          <a:solidFill>
            <a:srgbClr val="CDCDEB"/>
          </a:solidFill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423D67"/>
                </a:solidFill>
              </a:rPr>
              <a:t>Генеральная прокуратура Российской Федерации 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CCC1506A-9B95-E211-0859-EE4AFEFC9E41}"/>
              </a:ext>
            </a:extLst>
          </p:cNvPr>
          <p:cNvCxnSpPr/>
          <p:nvPr/>
        </p:nvCxnSpPr>
        <p:spPr>
          <a:xfrm>
            <a:off x="1049866" y="9276060"/>
            <a:ext cx="13196711" cy="0"/>
          </a:xfrm>
          <a:prstGeom prst="line">
            <a:avLst/>
          </a:prstGeom>
          <a:ln w="76200">
            <a:solidFill>
              <a:srgbClr val="565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1048A36-6403-B3BD-46A5-B4493663BAF0}"/>
              </a:ext>
            </a:extLst>
          </p:cNvPr>
          <p:cNvSpPr txBox="1"/>
          <p:nvPr/>
        </p:nvSpPr>
        <p:spPr>
          <a:xfrm>
            <a:off x="1305301" y="8362762"/>
            <a:ext cx="5926818" cy="483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423D67"/>
                </a:solidFill>
              </a:rPr>
              <a:t>ВК СФЕРУМ, ФГИС «МОЯ ШКОЛА»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6B9B37-0292-81EF-12B8-D2B07DF16D83}"/>
              </a:ext>
            </a:extLst>
          </p:cNvPr>
          <p:cNvSpPr txBox="1"/>
          <p:nvPr/>
        </p:nvSpPr>
        <p:spPr>
          <a:xfrm>
            <a:off x="7359103" y="5487896"/>
            <a:ext cx="6270884" cy="1877437"/>
          </a:xfrm>
          <a:prstGeom prst="rect">
            <a:avLst/>
          </a:prstGeom>
          <a:solidFill>
            <a:srgbClr val="CDCDEB"/>
          </a:solidFill>
        </p:spPr>
        <p:txBody>
          <a:bodyPr wrap="none" rtlCol="0">
            <a:spAutoFit/>
          </a:bodyPr>
          <a:lstStyle/>
          <a:p>
            <a:r>
              <a:rPr lang="ru-RU" sz="7200" dirty="0"/>
              <a:t>24</a:t>
            </a:r>
            <a:r>
              <a:rPr lang="ru-RU" sz="4400" dirty="0"/>
              <a:t> Образовательные </a:t>
            </a:r>
          </a:p>
          <a:p>
            <a:r>
              <a:rPr lang="ru-RU" sz="4400" dirty="0"/>
              <a:t>     организации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146FDC1-8466-72E6-27EA-6613BDBAAF29}"/>
              </a:ext>
            </a:extLst>
          </p:cNvPr>
          <p:cNvSpPr txBox="1"/>
          <p:nvPr/>
        </p:nvSpPr>
        <p:spPr>
          <a:xfrm>
            <a:off x="1400197" y="5460073"/>
            <a:ext cx="3325910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rgbClr val="423D67"/>
                </a:solidFill>
              </a:rPr>
              <a:t>6 вузов </a:t>
            </a:r>
          </a:p>
          <a:p>
            <a:r>
              <a:rPr lang="ru-RU" sz="3200" dirty="0">
                <a:solidFill>
                  <a:srgbClr val="423D67"/>
                </a:solidFill>
              </a:rPr>
              <a:t>6 колледжей</a:t>
            </a:r>
          </a:p>
          <a:p>
            <a:r>
              <a:rPr lang="ru-RU" sz="3200" dirty="0">
                <a:solidFill>
                  <a:srgbClr val="423D67"/>
                </a:solidFill>
              </a:rPr>
              <a:t>6 школ </a:t>
            </a:r>
          </a:p>
          <a:p>
            <a:r>
              <a:rPr lang="ru-RU" sz="3200" dirty="0">
                <a:solidFill>
                  <a:srgbClr val="423D67"/>
                </a:solidFill>
              </a:rPr>
              <a:t>6 детских садов </a:t>
            </a:r>
          </a:p>
        </p:txBody>
      </p:sp>
    </p:spTree>
    <p:extLst>
      <p:ext uri="{BB962C8B-B14F-4D97-AF65-F5344CB8AC3E}">
        <p14:creationId xmlns:p14="http://schemas.microsoft.com/office/powerpoint/2010/main" val="14821996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CF0091-EDCE-4257-D9CF-C899F2391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F71023A9-776A-C144-7200-97520C0C5822}"/>
              </a:ext>
            </a:extLst>
          </p:cNvPr>
          <p:cNvSpPr txBox="1"/>
          <p:nvPr/>
        </p:nvSpPr>
        <p:spPr>
          <a:xfrm>
            <a:off x="1400196" y="843892"/>
            <a:ext cx="119579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600" b="1" dirty="0">
                <a:solidFill>
                  <a:srgbClr val="423D67"/>
                </a:solidFill>
                <a:latin typeface="Arial" panose="020B0604020202020204"/>
              </a:rPr>
              <a:t>ЭКСПЕРТНАЯ СЕССИЯ В РАНХиГС   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78D8F8A-B6B9-9374-B1F1-78BBB602C4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0864" y="1949564"/>
            <a:ext cx="7127875" cy="534590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16F9AB9-5A57-18EB-304E-FA22F4FB39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612" y="1949564"/>
            <a:ext cx="6931479" cy="5345906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7CC830C-10EA-7D3F-3546-1274DEE9FE34}"/>
              </a:ext>
            </a:extLst>
          </p:cNvPr>
          <p:cNvSpPr/>
          <p:nvPr/>
        </p:nvSpPr>
        <p:spPr>
          <a:xfrm>
            <a:off x="350611" y="7478486"/>
            <a:ext cx="6931478" cy="872898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</a:rPr>
              <a:t>Пилотные регионы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5D6884D-EDDE-FD08-D460-430C888A9E43}"/>
              </a:ext>
            </a:extLst>
          </p:cNvPr>
          <p:cNvSpPr/>
          <p:nvPr/>
        </p:nvSpPr>
        <p:spPr>
          <a:xfrm>
            <a:off x="7640861" y="7491413"/>
            <a:ext cx="7127875" cy="859971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</a:rPr>
              <a:t>Рособрнадзор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9822A94-D5BB-6F0A-9F63-D0C86CA4DC8C}"/>
              </a:ext>
            </a:extLst>
          </p:cNvPr>
          <p:cNvSpPr/>
          <p:nvPr/>
        </p:nvSpPr>
        <p:spPr>
          <a:xfrm>
            <a:off x="350612" y="9588274"/>
            <a:ext cx="6931478" cy="859971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</a:rPr>
              <a:t>Государственная дума 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5709501-ADB7-A00B-E90D-C8C8B5942D45}"/>
              </a:ext>
            </a:extLst>
          </p:cNvPr>
          <p:cNvSpPr/>
          <p:nvPr/>
        </p:nvSpPr>
        <p:spPr>
          <a:xfrm>
            <a:off x="350612" y="8532360"/>
            <a:ext cx="6931478" cy="872898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</a:rPr>
              <a:t>Администрация президента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6931D69-1874-07AA-1F48-349F31DD9271}"/>
              </a:ext>
            </a:extLst>
          </p:cNvPr>
          <p:cNvSpPr/>
          <p:nvPr/>
        </p:nvSpPr>
        <p:spPr>
          <a:xfrm>
            <a:off x="7640862" y="8532360"/>
            <a:ext cx="7127875" cy="872898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</a:rPr>
              <a:t>Минобрнауки России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B7A58F6C-11FB-9A45-AC1A-8E52D54D0A9C}"/>
              </a:ext>
            </a:extLst>
          </p:cNvPr>
          <p:cNvSpPr/>
          <p:nvPr/>
        </p:nvSpPr>
        <p:spPr>
          <a:xfrm>
            <a:off x="7640864" y="9588274"/>
            <a:ext cx="7127875" cy="872898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</a:rPr>
              <a:t>Минпросвещения Росси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1A76B8-CB37-715A-933D-B36CC3A39766}"/>
              </a:ext>
            </a:extLst>
          </p:cNvPr>
          <p:cNvSpPr txBox="1"/>
          <p:nvPr/>
        </p:nvSpPr>
        <p:spPr>
          <a:xfrm>
            <a:off x="6035251" y="1944251"/>
            <a:ext cx="3048848" cy="646331"/>
          </a:xfrm>
          <a:prstGeom prst="rect">
            <a:avLst/>
          </a:prstGeom>
          <a:solidFill>
            <a:srgbClr val="C00000"/>
          </a:solidFill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</a:rPr>
              <a:t>Январь 2024 </a:t>
            </a:r>
          </a:p>
        </p:txBody>
      </p:sp>
    </p:spTree>
    <p:extLst>
      <p:ext uri="{BB962C8B-B14F-4D97-AF65-F5344CB8AC3E}">
        <p14:creationId xmlns:p14="http://schemas.microsoft.com/office/powerpoint/2010/main" val="8616392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CFFAFC8-D13F-C7CF-E255-56A3E57B8C06}"/>
              </a:ext>
            </a:extLst>
          </p:cNvPr>
          <p:cNvSpPr txBox="1"/>
          <p:nvPr/>
        </p:nvSpPr>
        <p:spPr>
          <a:xfrm>
            <a:off x="1147315" y="333925"/>
            <a:ext cx="1047749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ГОСУДАРСТВЕННАЯ РЕГЛАМЕНТАЦИЯ  БЮРОКРАТИЧЕСКОЙ НАГРУЗКИ    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2FEF26D-3042-884C-79EF-D3311013CE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489703"/>
              </p:ext>
            </p:extLst>
          </p:nvPr>
        </p:nvGraphicFramePr>
        <p:xfrm>
          <a:off x="381965" y="1986051"/>
          <a:ext cx="14161349" cy="7432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5881">
                  <a:extLst>
                    <a:ext uri="{9D8B030D-6E8A-4147-A177-3AD203B41FA5}">
                      <a16:colId xmlns:a16="http://schemas.microsoft.com/office/drawing/2014/main" val="3686103623"/>
                    </a:ext>
                  </a:extLst>
                </a:gridCol>
                <a:gridCol w="3434235">
                  <a:extLst>
                    <a:ext uri="{9D8B030D-6E8A-4147-A177-3AD203B41FA5}">
                      <a16:colId xmlns:a16="http://schemas.microsoft.com/office/drawing/2014/main" val="516741832"/>
                    </a:ext>
                  </a:extLst>
                </a:gridCol>
                <a:gridCol w="3286208">
                  <a:extLst>
                    <a:ext uri="{9D8B030D-6E8A-4147-A177-3AD203B41FA5}">
                      <a16:colId xmlns:a16="http://schemas.microsoft.com/office/drawing/2014/main" val="568660682"/>
                    </a:ext>
                  </a:extLst>
                </a:gridCol>
                <a:gridCol w="3375025">
                  <a:extLst>
                    <a:ext uri="{9D8B030D-6E8A-4147-A177-3AD203B41FA5}">
                      <a16:colId xmlns:a16="http://schemas.microsoft.com/office/drawing/2014/main" val="54404954"/>
                    </a:ext>
                  </a:extLst>
                </a:gridCol>
              </a:tblGrid>
              <a:tr h="1095485">
                <a:tc>
                  <a:txBody>
                    <a:bodyPr/>
                    <a:lstStyle/>
                    <a:p>
                      <a:r>
                        <a:rPr lang="ru-RU" sz="2400" dirty="0"/>
                        <a:t>Нормы 273 ФЗ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Приказы и иные документы ФОИ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err="1"/>
                        <a:t>Профстандарты</a:t>
                      </a:r>
                      <a:r>
                        <a:rPr lang="ru-RU" sz="2400" dirty="0"/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Должностные инструкц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526541"/>
                  </a:ext>
                </a:extLst>
              </a:tr>
              <a:tr h="1783240">
                <a:tc>
                  <a:txBody>
                    <a:bodyPr/>
                    <a:lstStyle/>
                    <a:p>
                      <a:endParaRPr lang="ru-RU" sz="1400" b="0" dirty="0"/>
                    </a:p>
                    <a:p>
                      <a:endParaRPr lang="ru-RU" sz="1400" b="0" dirty="0"/>
                    </a:p>
                    <a:p>
                      <a:endParaRPr lang="ru-RU" sz="1400" b="0" dirty="0"/>
                    </a:p>
                    <a:p>
                      <a:endParaRPr lang="ru-RU" sz="1400" b="0" dirty="0"/>
                    </a:p>
                    <a:p>
                      <a:endParaRPr lang="ru-RU" sz="1400" b="0" dirty="0"/>
                    </a:p>
                    <a:p>
                      <a:endParaRPr lang="ru-RU" sz="1400" b="0" dirty="0"/>
                    </a:p>
                    <a:p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</a:t>
                      </a:r>
                    </a:p>
                    <a:p>
                      <a:r>
                        <a:rPr lang="ru-RU" sz="1400" b="0" dirty="0"/>
                        <a:t>формировать перечни и примерные формы  документов педагогических работников и образовательных организаций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r>
                        <a:rPr lang="ru-RU" sz="1400" dirty="0"/>
                        <a:t>Приказы  о </a:t>
                      </a:r>
                      <a:r>
                        <a:rPr lang="ru-RU" sz="1400" b="0" dirty="0"/>
                        <a:t>перечнях и примерных формах  документов педагогических работников и образовательных организаций СПО и ВО  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Дополнить профстандарт педагога трудовой функцией «документационная деятельность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Разработать и утвердить  типовые  должностные инструкции учителя-предметника и классного руководителя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24045"/>
                  </a:ext>
                </a:extLst>
              </a:tr>
              <a:tr h="1148900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формировать перечни информационных систем и мониторингов, заполняемых образовательными организациям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Приказы о перечнях мониторингов и информационных систем, обязательных для заполнения </a:t>
                      </a:r>
                    </a:p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Обеспечить разработку </a:t>
                      </a:r>
                      <a:r>
                        <a:rPr lang="ru-RU" sz="1400" dirty="0" err="1"/>
                        <a:t>профстандартов</a:t>
                      </a:r>
                      <a:r>
                        <a:rPr lang="ru-RU" sz="1400" dirty="0"/>
                        <a:t> ко всем категориям педагогических работник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Разработать и утвердить  типовые должностные инструкции для всех категорий педагогических работник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378905"/>
                  </a:ext>
                </a:extLst>
              </a:tr>
              <a:tr h="794410">
                <a:tc>
                  <a:txBody>
                    <a:bodyPr/>
                    <a:lstStyle/>
                    <a:p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формировать основания для запрос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риказы об основаниях для запрос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8766703"/>
                  </a:ext>
                </a:extLst>
              </a:tr>
              <a:tr h="1077685">
                <a:tc>
                  <a:txBody>
                    <a:bodyPr/>
                    <a:lstStyle/>
                    <a:p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применять административные меры за нарушение требований к документационной нагрузке педагог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риказы о персональной ответственности за исходящую документацию из ФОИ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555598"/>
                  </a:ext>
                </a:extLst>
              </a:tr>
              <a:tr h="1091243">
                <a:tc>
                  <a:txBody>
                    <a:bodyPr/>
                    <a:lstStyle/>
                    <a:p>
                      <a:r>
                        <a:rPr lang="ru-RU" sz="1400" b="0" dirty="0"/>
                        <a:t>Конкретизировать понятия «образовательная программа» и «педагогическая деятельно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риказы об утверждении функционала классного руководител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7210133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A2EA631-C0BA-E70B-933C-E775150CB802}"/>
              </a:ext>
            </a:extLst>
          </p:cNvPr>
          <p:cNvSpPr/>
          <p:nvPr/>
        </p:nvSpPr>
        <p:spPr>
          <a:xfrm>
            <a:off x="4702477" y="9977686"/>
            <a:ext cx="1002474" cy="5466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ABCCC93-5EF5-4143-354C-15D751537F9C}"/>
              </a:ext>
            </a:extLst>
          </p:cNvPr>
          <p:cNvSpPr/>
          <p:nvPr/>
        </p:nvSpPr>
        <p:spPr>
          <a:xfrm>
            <a:off x="10003809" y="9927352"/>
            <a:ext cx="1062420" cy="57797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090081-AA52-5B1A-B846-7246AE436B9E}"/>
              </a:ext>
            </a:extLst>
          </p:cNvPr>
          <p:cNvSpPr txBox="1"/>
          <p:nvPr/>
        </p:nvSpPr>
        <p:spPr>
          <a:xfrm>
            <a:off x="5704951" y="10026078"/>
            <a:ext cx="3655873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Частично реализовано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127F8B-A9F5-F95A-3001-F3EB1061D858}"/>
              </a:ext>
            </a:extLst>
          </p:cNvPr>
          <p:cNvSpPr txBox="1"/>
          <p:nvPr/>
        </p:nvSpPr>
        <p:spPr>
          <a:xfrm>
            <a:off x="11406531" y="10002693"/>
            <a:ext cx="2647584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е реализовано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888406" y="6479042"/>
            <a:ext cx="6654907" cy="29397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Привести в соответствие федеральные, региональные и локальные НПА, а также методические и инструктивные материалы законодательству РФ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462818" y="3118513"/>
            <a:ext cx="3425588" cy="109425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Приказ о перечне документов педагогов общеобразовательных организаций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25345" y="3125213"/>
            <a:ext cx="3994093" cy="109425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Наделить полномочиями Минпросвещения России формировать перечень документов педагогов общеобразовательных организаций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A2EA631-C0BA-E70B-933C-E775150CB802}"/>
              </a:ext>
            </a:extLst>
          </p:cNvPr>
          <p:cNvSpPr/>
          <p:nvPr/>
        </p:nvSpPr>
        <p:spPr>
          <a:xfrm>
            <a:off x="488496" y="9927352"/>
            <a:ext cx="1002474" cy="54664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E090081-AA52-5B1A-B846-7246AE436B9E}"/>
              </a:ext>
            </a:extLst>
          </p:cNvPr>
          <p:cNvSpPr txBox="1"/>
          <p:nvPr/>
        </p:nvSpPr>
        <p:spPr>
          <a:xfrm>
            <a:off x="1589519" y="9990016"/>
            <a:ext cx="2161938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еализовано</a:t>
            </a:r>
          </a:p>
        </p:txBody>
      </p:sp>
    </p:spTree>
    <p:extLst>
      <p:ext uri="{BB962C8B-B14F-4D97-AF65-F5344CB8AC3E}">
        <p14:creationId xmlns:p14="http://schemas.microsoft.com/office/powerpoint/2010/main" val="35752389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CFFAFC8-D13F-C7CF-E255-56A3E57B8C06}"/>
              </a:ext>
            </a:extLst>
          </p:cNvPr>
          <p:cNvSpPr txBox="1"/>
          <p:nvPr/>
        </p:nvSpPr>
        <p:spPr>
          <a:xfrm>
            <a:off x="1147315" y="333925"/>
            <a:ext cx="1228565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ГОСУДАРСТВЕННАЯ РЕГЛАМЕНТАЦИЯ  БЮРОКРАТИЧЕСКОЙ НАГРУЗКИ    (к 2025 году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2FEF26D-3042-884C-79EF-D3311013CE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551483"/>
              </p:ext>
            </p:extLst>
          </p:nvPr>
        </p:nvGraphicFramePr>
        <p:xfrm>
          <a:off x="381965" y="1986051"/>
          <a:ext cx="14161349" cy="70060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5881">
                  <a:extLst>
                    <a:ext uri="{9D8B030D-6E8A-4147-A177-3AD203B41FA5}">
                      <a16:colId xmlns:a16="http://schemas.microsoft.com/office/drawing/2014/main" val="3686103623"/>
                    </a:ext>
                  </a:extLst>
                </a:gridCol>
                <a:gridCol w="3434235">
                  <a:extLst>
                    <a:ext uri="{9D8B030D-6E8A-4147-A177-3AD203B41FA5}">
                      <a16:colId xmlns:a16="http://schemas.microsoft.com/office/drawing/2014/main" val="516741832"/>
                    </a:ext>
                  </a:extLst>
                </a:gridCol>
                <a:gridCol w="3286208">
                  <a:extLst>
                    <a:ext uri="{9D8B030D-6E8A-4147-A177-3AD203B41FA5}">
                      <a16:colId xmlns:a16="http://schemas.microsoft.com/office/drawing/2014/main" val="568660682"/>
                    </a:ext>
                  </a:extLst>
                </a:gridCol>
                <a:gridCol w="3375025">
                  <a:extLst>
                    <a:ext uri="{9D8B030D-6E8A-4147-A177-3AD203B41FA5}">
                      <a16:colId xmlns:a16="http://schemas.microsoft.com/office/drawing/2014/main" val="54404954"/>
                    </a:ext>
                  </a:extLst>
                </a:gridCol>
              </a:tblGrid>
              <a:tr h="1095485">
                <a:tc>
                  <a:txBody>
                    <a:bodyPr/>
                    <a:lstStyle/>
                    <a:p>
                      <a:r>
                        <a:rPr lang="ru-RU" sz="2400" dirty="0"/>
                        <a:t>Нормы 273 ФЗ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Приказы и иные документы ФОИ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err="1"/>
                        <a:t>Профстандарты</a:t>
                      </a:r>
                      <a:r>
                        <a:rPr lang="ru-RU" sz="2400" dirty="0"/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Должностные инструкц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526541"/>
                  </a:ext>
                </a:extLst>
              </a:tr>
              <a:tr h="1783240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Наделить полномочиями Минпросвещения России формировать перечень документов педагогов общеобразовательных организаций </a:t>
                      </a:r>
                    </a:p>
                    <a:p>
                      <a:endParaRPr lang="ru-RU" sz="1400" b="0" dirty="0"/>
                    </a:p>
                    <a:p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</a:t>
                      </a:r>
                    </a:p>
                    <a:p>
                      <a:r>
                        <a:rPr lang="ru-RU" sz="1400" b="0" dirty="0"/>
                        <a:t>формировать перечни и примерные формы  документов педагогических работников и образовательных организаций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Приказ о перечне документов педагогов общеобразовательных организаций </a:t>
                      </a:r>
                    </a:p>
                    <a:p>
                      <a:endParaRPr lang="ru-RU" sz="1400" dirty="0"/>
                    </a:p>
                    <a:p>
                      <a:r>
                        <a:rPr lang="ru-RU" sz="1400" dirty="0"/>
                        <a:t>Приказы  о </a:t>
                      </a:r>
                      <a:r>
                        <a:rPr lang="ru-RU" sz="1400" b="0" dirty="0"/>
                        <a:t>перечнях и примерных формах  документов педагогических работников и образовательных организаций СПО и ВО  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Дополнить профстандарт педагога трудовой функцией «документационная деятельность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Разработать и утвердить  типовые  должностные инструкции учителя-предметника и классного руководителя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24045"/>
                  </a:ext>
                </a:extLst>
              </a:tr>
              <a:tr h="1148900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формировать перечни информационных систем и мониторингов, заполняемых образовательными организациям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Приказы о перечнях мониторингов и информационных систем, обязательных для заполнения </a:t>
                      </a:r>
                    </a:p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Обеспечить разработку </a:t>
                      </a:r>
                      <a:r>
                        <a:rPr lang="ru-RU" sz="1400" dirty="0" err="1"/>
                        <a:t>профстандартов</a:t>
                      </a:r>
                      <a:r>
                        <a:rPr lang="ru-RU" sz="1400" dirty="0"/>
                        <a:t> ко всем категориям педагогических работник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Разработать и утвердить  типовые должностные инструкции для всех категорий педагогических работник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378905"/>
                  </a:ext>
                </a:extLst>
              </a:tr>
              <a:tr h="794410">
                <a:tc>
                  <a:txBody>
                    <a:bodyPr/>
                    <a:lstStyle/>
                    <a:p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формировать основания для запрос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риказы об основаниях для запрос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8766703"/>
                  </a:ext>
                </a:extLst>
              </a:tr>
              <a:tr h="1077685">
                <a:tc>
                  <a:txBody>
                    <a:bodyPr/>
                    <a:lstStyle/>
                    <a:p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применять административные меры за нарушение требований к документационной нагрузке педагог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риказы о персональной ответственности за исходящую документацию из ФОИ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555598"/>
                  </a:ext>
                </a:extLst>
              </a:tr>
              <a:tr h="1091243">
                <a:tc>
                  <a:txBody>
                    <a:bodyPr/>
                    <a:lstStyle/>
                    <a:p>
                      <a:r>
                        <a:rPr lang="ru-RU" sz="1400" b="0" dirty="0"/>
                        <a:t>Конкретизировать понятия «образовательная программа» и «педагогическая деятельно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риказы об утверждении функционала классного руководител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7210133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A2EA631-C0BA-E70B-933C-E775150CB802}"/>
              </a:ext>
            </a:extLst>
          </p:cNvPr>
          <p:cNvSpPr/>
          <p:nvPr/>
        </p:nvSpPr>
        <p:spPr>
          <a:xfrm>
            <a:off x="4702477" y="9977686"/>
            <a:ext cx="1002474" cy="5466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ABCCC93-5EF5-4143-354C-15D751537F9C}"/>
              </a:ext>
            </a:extLst>
          </p:cNvPr>
          <p:cNvSpPr/>
          <p:nvPr/>
        </p:nvSpPr>
        <p:spPr>
          <a:xfrm>
            <a:off x="10003809" y="9927352"/>
            <a:ext cx="1062420" cy="57797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090081-AA52-5B1A-B846-7246AE436B9E}"/>
              </a:ext>
            </a:extLst>
          </p:cNvPr>
          <p:cNvSpPr txBox="1"/>
          <p:nvPr/>
        </p:nvSpPr>
        <p:spPr>
          <a:xfrm>
            <a:off x="5704951" y="10026078"/>
            <a:ext cx="3655873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Частично реализовано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127F8B-A9F5-F95A-3001-F3EB1061D858}"/>
              </a:ext>
            </a:extLst>
          </p:cNvPr>
          <p:cNvSpPr txBox="1"/>
          <p:nvPr/>
        </p:nvSpPr>
        <p:spPr>
          <a:xfrm>
            <a:off x="11406531" y="10002693"/>
            <a:ext cx="2647584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е реализовано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888406" y="6107535"/>
            <a:ext cx="6654907" cy="288455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Привести в соответствие федеральные, региональные и локальные НПА, а также методические и инструктивные материалы законодательству РФ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A2EA631-C0BA-E70B-933C-E775150CB802}"/>
              </a:ext>
            </a:extLst>
          </p:cNvPr>
          <p:cNvSpPr/>
          <p:nvPr/>
        </p:nvSpPr>
        <p:spPr>
          <a:xfrm>
            <a:off x="488496" y="9927352"/>
            <a:ext cx="1002474" cy="54664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E090081-AA52-5B1A-B846-7246AE436B9E}"/>
              </a:ext>
            </a:extLst>
          </p:cNvPr>
          <p:cNvSpPr txBox="1"/>
          <p:nvPr/>
        </p:nvSpPr>
        <p:spPr>
          <a:xfrm>
            <a:off x="1589519" y="9990016"/>
            <a:ext cx="2161938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еализовано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075A2B88-39A5-F0EA-6AE9-995668E7714E}"/>
              </a:ext>
            </a:extLst>
          </p:cNvPr>
          <p:cNvCxnSpPr/>
          <p:nvPr/>
        </p:nvCxnSpPr>
        <p:spPr>
          <a:xfrm>
            <a:off x="381965" y="3875314"/>
            <a:ext cx="7506441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83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90B3469-35C6-A70D-60A9-B1F8B5E71898}"/>
              </a:ext>
            </a:extLst>
          </p:cNvPr>
          <p:cNvSpPr txBox="1"/>
          <p:nvPr/>
        </p:nvSpPr>
        <p:spPr>
          <a:xfrm>
            <a:off x="1147315" y="687868"/>
            <a:ext cx="1239451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КОНТРОЛЬНО-НАДЗОРНАЯ ДЕЯТЕЛЬНОСТЬ   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C245D788-144C-175A-A626-CBE68EE9A4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2074883"/>
              </p:ext>
            </p:extLst>
          </p:nvPr>
        </p:nvGraphicFramePr>
        <p:xfrm>
          <a:off x="653144" y="1986051"/>
          <a:ext cx="13291456" cy="80178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992670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0AB6D91-3D58-603E-4297-2849C6387822}"/>
              </a:ext>
            </a:extLst>
          </p:cNvPr>
          <p:cNvSpPr txBox="1"/>
          <p:nvPr/>
        </p:nvSpPr>
        <p:spPr>
          <a:xfrm>
            <a:off x="1147315" y="687868"/>
            <a:ext cx="1239451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ИНФОРМАЦИОННЫЕ КАНАЛЫ В ВК СФЕРУМ    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45FA195-20F8-9787-1E5D-72A27AB0DA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0674" y="1667436"/>
            <a:ext cx="4482603" cy="8229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31D6259-C673-14D9-3DC6-73C1CC6D93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8348" y="1667436"/>
            <a:ext cx="4669636" cy="83365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9F2DB97-1C7B-F18A-EE0C-C4A4AD39B2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597" y="1736122"/>
            <a:ext cx="3820440" cy="82678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751184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C6AC75-9115-5415-7B57-DDFC107B2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A5DBD32B-754A-FD50-2AC6-AD666D6BFED5}"/>
              </a:ext>
            </a:extLst>
          </p:cNvPr>
          <p:cNvSpPr/>
          <p:nvPr/>
        </p:nvSpPr>
        <p:spPr>
          <a:xfrm>
            <a:off x="2487674" y="768880"/>
            <a:ext cx="10808290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ПРОБЛЕМЫ, БЕСПОКОЯЩИЕ ОБУЧАЩИХСЯ  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3DB67389-A167-329D-E293-3FB1269CC2A4}"/>
              </a:ext>
            </a:extLst>
          </p:cNvPr>
          <p:cNvGraphicFramePr/>
          <p:nvPr/>
        </p:nvGraphicFramePr>
        <p:xfrm>
          <a:off x="744685" y="1998132"/>
          <a:ext cx="13629980" cy="8319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613705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113C4B9-B306-0B31-209C-702B7B9D4357}"/>
              </a:ext>
            </a:extLst>
          </p:cNvPr>
          <p:cNvSpPr txBox="1"/>
          <p:nvPr/>
        </p:nvSpPr>
        <p:spPr>
          <a:xfrm>
            <a:off x="1834487" y="625982"/>
            <a:ext cx="11315456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ЧАТ-БОТ СФЕРУМА – ПОМОЩНИК РОСОБРНАДЗОРА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CBAF671F-045F-1347-9750-5B14C525BF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1804760"/>
              </p:ext>
            </p:extLst>
          </p:nvPr>
        </p:nvGraphicFramePr>
        <p:xfrm>
          <a:off x="-1077686" y="2001788"/>
          <a:ext cx="10700657" cy="76695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26C454BB-C8DD-8061-662B-31A499F5C11C}"/>
              </a:ext>
            </a:extLst>
          </p:cNvPr>
          <p:cNvCxnSpPr/>
          <p:nvPr/>
        </p:nvCxnSpPr>
        <p:spPr>
          <a:xfrm>
            <a:off x="8382001" y="1959265"/>
            <a:ext cx="0" cy="7669578"/>
          </a:xfrm>
          <a:prstGeom prst="line">
            <a:avLst/>
          </a:prstGeom>
          <a:ln w="76200">
            <a:solidFill>
              <a:srgbClr val="565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5F49EA1-9391-3216-7F62-D0D0EECC48C7}"/>
              </a:ext>
            </a:extLst>
          </p:cNvPr>
          <p:cNvSpPr txBox="1"/>
          <p:nvPr/>
        </p:nvSpPr>
        <p:spPr>
          <a:xfrm>
            <a:off x="9525001" y="2364982"/>
            <a:ext cx="3740896" cy="483979"/>
          </a:xfrm>
          <a:prstGeom prst="rect">
            <a:avLst/>
          </a:prstGeom>
          <a:solidFill>
            <a:srgbClr val="CDCDEB"/>
          </a:solidFill>
        </p:spPr>
        <p:txBody>
          <a:bodyPr wrap="none" rtlCol="0">
            <a:spAutoFit/>
          </a:bodyPr>
          <a:lstStyle/>
          <a:p>
            <a:r>
              <a:rPr lang="ru-RU" b="1" dirty="0"/>
              <a:t>АНАЛИТИКА ОНЛАЙ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FCA5AE-5AE3-D62D-2F5A-52EB0DE8B8DA}"/>
              </a:ext>
            </a:extLst>
          </p:cNvPr>
          <p:cNvSpPr txBox="1"/>
          <p:nvPr/>
        </p:nvSpPr>
        <p:spPr>
          <a:xfrm>
            <a:off x="8945340" y="3984171"/>
            <a:ext cx="5238739" cy="40087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dirty="0"/>
              <a:t> количество сообщений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dirty="0"/>
              <a:t> содержание сообщений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dirty="0"/>
              <a:t> удовлетворенность    решением  проблем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dirty="0"/>
              <a:t>страна</a:t>
            </a:r>
            <a:r>
              <a:rPr lang="en-US" dirty="0"/>
              <a:t>/</a:t>
            </a:r>
            <a:r>
              <a:rPr lang="ru-RU" dirty="0"/>
              <a:t>регион</a:t>
            </a:r>
            <a:r>
              <a:rPr lang="en-US" dirty="0"/>
              <a:t>/</a:t>
            </a:r>
            <a:r>
              <a:rPr lang="ru-RU" dirty="0"/>
              <a:t>муниципалитет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5014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181021" y="528081"/>
            <a:ext cx="12589408" cy="3145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968" b="1" dirty="0">
                <a:solidFill>
                  <a:srgbClr val="423D67"/>
                </a:solidFill>
              </a:rPr>
              <a:t>МОНИТОРИНГ ЗАБЮРОКРАТИЗИРОВАННОСТИ РЕГИОНОВ</a:t>
            </a:r>
          </a:p>
          <a:p>
            <a:endParaRPr lang="ru-RU" sz="3968" b="1" dirty="0">
              <a:solidFill>
                <a:srgbClr val="423D67"/>
              </a:solidFill>
            </a:endParaRPr>
          </a:p>
          <a:p>
            <a:endParaRPr lang="ru-RU" sz="3968" b="1" dirty="0">
              <a:solidFill>
                <a:srgbClr val="423D67"/>
              </a:solidFill>
            </a:endParaRPr>
          </a:p>
          <a:p>
            <a:r>
              <a:rPr lang="ru-RU" sz="3968" b="1" dirty="0">
                <a:solidFill>
                  <a:srgbClr val="423D67"/>
                </a:solidFill>
              </a:rPr>
              <a:t>НОЯБРЬ 2023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0E01523-83CB-F808-6E9B-587BD67F8D10}"/>
              </a:ext>
            </a:extLst>
          </p:cNvPr>
          <p:cNvSpPr/>
          <p:nvPr/>
        </p:nvSpPr>
        <p:spPr>
          <a:xfrm>
            <a:off x="1181021" y="4551382"/>
            <a:ext cx="1690685" cy="1690685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964B84D-2D94-EA3D-464D-D456A751E08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715247" y="4976445"/>
            <a:ext cx="622230" cy="8405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6DC1D22-480E-7B83-0810-FDD354118457}"/>
              </a:ext>
            </a:extLst>
          </p:cNvPr>
          <p:cNvSpPr txBox="1"/>
          <p:nvPr/>
        </p:nvSpPr>
        <p:spPr>
          <a:xfrm>
            <a:off x="2963787" y="5110464"/>
            <a:ext cx="4533036" cy="4739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80" dirty="0">
                <a:solidFill>
                  <a:srgbClr val="462E82"/>
                </a:solidFill>
              </a:rPr>
              <a:t>СФЕРУМ</a:t>
            </a:r>
            <a:r>
              <a:rPr lang="en-US" sz="2480" dirty="0">
                <a:solidFill>
                  <a:srgbClr val="462E82"/>
                </a:solidFill>
              </a:rPr>
              <a:t>/VK </a:t>
            </a:r>
            <a:r>
              <a:rPr lang="ru-RU" sz="2480" dirty="0">
                <a:solidFill>
                  <a:srgbClr val="462E82"/>
                </a:solidFill>
              </a:rPr>
              <a:t>МЕССЕНДЖЕР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F9F2CA0-C08C-B8D6-0208-0F309BA84362}"/>
              </a:ext>
            </a:extLst>
          </p:cNvPr>
          <p:cNvSpPr/>
          <p:nvPr/>
        </p:nvSpPr>
        <p:spPr>
          <a:xfrm>
            <a:off x="1181021" y="6560712"/>
            <a:ext cx="1690685" cy="1690685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B84D5A-90D9-041D-76AD-9C4BCDCF61E2}"/>
              </a:ext>
            </a:extLst>
          </p:cNvPr>
          <p:cNvSpPr txBox="1"/>
          <p:nvPr/>
        </p:nvSpPr>
        <p:spPr>
          <a:xfrm>
            <a:off x="3405933" y="6924646"/>
            <a:ext cx="2418739" cy="7793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64" b="1" dirty="0">
                <a:solidFill>
                  <a:srgbClr val="462E82"/>
                </a:solidFill>
              </a:rPr>
              <a:t>8</a:t>
            </a:r>
            <a:r>
              <a:rPr lang="ru-RU" sz="2976" dirty="0">
                <a:solidFill>
                  <a:srgbClr val="462E82"/>
                </a:solidFill>
              </a:rPr>
              <a:t> </a:t>
            </a:r>
            <a:r>
              <a:rPr lang="ru-RU" sz="2480" dirty="0">
                <a:solidFill>
                  <a:srgbClr val="462E82"/>
                </a:solidFill>
              </a:rPr>
              <a:t>ВОПРОС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E19D93D-AF7C-351D-7F2E-F4DD37C3331F}"/>
              </a:ext>
            </a:extLst>
          </p:cNvPr>
          <p:cNvSpPr/>
          <p:nvPr/>
        </p:nvSpPr>
        <p:spPr>
          <a:xfrm>
            <a:off x="8102210" y="4551380"/>
            <a:ext cx="1690685" cy="1690685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C622744-DAEF-DA3B-2758-F1F28F7AC861}"/>
              </a:ext>
            </a:extLst>
          </p:cNvPr>
          <p:cNvSpPr/>
          <p:nvPr/>
        </p:nvSpPr>
        <p:spPr>
          <a:xfrm>
            <a:off x="8102210" y="6560711"/>
            <a:ext cx="1690685" cy="1690685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27296D-535F-ABC5-DA27-EEECB12C82B6}"/>
              </a:ext>
            </a:extLst>
          </p:cNvPr>
          <p:cNvSpPr txBox="1"/>
          <p:nvPr/>
        </p:nvSpPr>
        <p:spPr>
          <a:xfrm>
            <a:off x="10215432" y="4861941"/>
            <a:ext cx="3378874" cy="7793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64" b="1" dirty="0">
                <a:solidFill>
                  <a:srgbClr val="462E82"/>
                </a:solidFill>
              </a:rPr>
              <a:t>89</a:t>
            </a:r>
            <a:r>
              <a:rPr lang="ru-RU" sz="3156" dirty="0">
                <a:solidFill>
                  <a:srgbClr val="462E82"/>
                </a:solidFill>
              </a:rPr>
              <a:t> </a:t>
            </a:r>
            <a:r>
              <a:rPr lang="ru-RU" sz="2480" dirty="0">
                <a:solidFill>
                  <a:srgbClr val="462E82"/>
                </a:solidFill>
              </a:rPr>
              <a:t>СУБЪЕКТОВ РФ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55DA9C-352D-F4EE-63AB-E0F246250999}"/>
              </a:ext>
            </a:extLst>
          </p:cNvPr>
          <p:cNvSpPr txBox="1"/>
          <p:nvPr/>
        </p:nvSpPr>
        <p:spPr>
          <a:xfrm flipH="1">
            <a:off x="10404256" y="6924647"/>
            <a:ext cx="4449483" cy="779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64" b="1" dirty="0">
                <a:solidFill>
                  <a:srgbClr val="462E82"/>
                </a:solidFill>
              </a:rPr>
              <a:t>39 741 </a:t>
            </a:r>
            <a:r>
              <a:rPr lang="ru-RU" sz="2480" dirty="0">
                <a:solidFill>
                  <a:srgbClr val="462E82"/>
                </a:solidFill>
              </a:rPr>
              <a:t>УЧИТЕЛЕЙ</a:t>
            </a:r>
            <a:r>
              <a:rPr lang="ru-RU" sz="2480" dirty="0"/>
              <a:t>	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6700D8-2A6E-A76B-A7FE-7540F2C6DB0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639897" y="7109547"/>
            <a:ext cx="772931" cy="74464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1553F57-9E35-BD13-8BAF-0006941B3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76857" y="6924647"/>
            <a:ext cx="802790" cy="929546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A46E293-13CA-7E64-7DA5-F83266157D4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467609" y="4976445"/>
            <a:ext cx="964681" cy="774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5549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834487" y="625982"/>
            <a:ext cx="10849155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FD2D0B62-80C5-CD32-CAFD-B4C9025EFC0C}"/>
              </a:ext>
            </a:extLst>
          </p:cNvPr>
          <p:cNvGraphicFramePr>
            <a:graphicFrameLocks/>
          </p:cNvGraphicFramePr>
          <p:nvPr/>
        </p:nvGraphicFramePr>
        <p:xfrm>
          <a:off x="5613989" y="3357554"/>
          <a:ext cx="8728962" cy="5396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Объект 11">
            <a:extLst>
              <a:ext uri="{FF2B5EF4-FFF2-40B4-BE49-F238E27FC236}">
                <a16:creationId xmlns:a16="http://schemas.microsoft.com/office/drawing/2014/main" id="{1E570C05-6C5C-6934-27DA-4444B0D628F4}"/>
              </a:ext>
            </a:extLst>
          </p:cNvPr>
          <p:cNvGraphicFramePr>
            <a:graphicFrameLocks/>
          </p:cNvGraphicFramePr>
          <p:nvPr/>
        </p:nvGraphicFramePr>
        <p:xfrm>
          <a:off x="177436" y="3523605"/>
          <a:ext cx="6397536" cy="3644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A80B254-E92E-E129-4FB1-E99342C2C0A0}"/>
              </a:ext>
            </a:extLst>
          </p:cNvPr>
          <p:cNvSpPr txBox="1"/>
          <p:nvPr/>
        </p:nvSpPr>
        <p:spPr>
          <a:xfrm>
            <a:off x="2100942" y="2368642"/>
            <a:ext cx="1104790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Июнь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402CF9-5675-7D4A-5BB3-ED40D1308D49}"/>
              </a:ext>
            </a:extLst>
          </p:cNvPr>
          <p:cNvSpPr txBox="1"/>
          <p:nvPr/>
        </p:nvSpPr>
        <p:spPr>
          <a:xfrm>
            <a:off x="8570712" y="2487821"/>
            <a:ext cx="1407758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оябрь </a:t>
            </a:r>
          </a:p>
        </p:txBody>
      </p:sp>
    </p:spTree>
    <p:extLst>
      <p:ext uri="{BB962C8B-B14F-4D97-AF65-F5344CB8AC3E}">
        <p14:creationId xmlns:p14="http://schemas.microsoft.com/office/powerpoint/2010/main" val="20170660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706156" y="551670"/>
            <a:ext cx="10849155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  <p:pic>
        <p:nvPicPr>
          <p:cNvPr id="6" name="Рисунок 5" descr="Изображение выглядит как прямоугольный, диаграмма, пиксель&#10;&#10;Автоматически созданное описание">
            <a:extLst>
              <a:ext uri="{FF2B5EF4-FFF2-40B4-BE49-F238E27FC236}">
                <a16:creationId xmlns:a16="http://schemas.microsoft.com/office/drawing/2014/main" id="{73B4BDF7-EC01-AFF4-886C-65A3DC8061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4040" y="2444661"/>
            <a:ext cx="9991271" cy="580249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44A9FEB-34B9-26DD-73B2-235A03ABBC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1044" y="9151867"/>
            <a:ext cx="4598306" cy="446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466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927540" y="802099"/>
            <a:ext cx="9740024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ФОТООЧЕТЫ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A7B879D-CF53-B266-9E15-94883EC56ACC}"/>
              </a:ext>
            </a:extLst>
          </p:cNvPr>
          <p:cNvGraphicFramePr>
            <a:graphicFrameLocks/>
          </p:cNvGraphicFramePr>
          <p:nvPr/>
        </p:nvGraphicFramePr>
        <p:xfrm>
          <a:off x="6524868" y="3407964"/>
          <a:ext cx="7818083" cy="5345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Объект 11">
            <a:extLst>
              <a:ext uri="{FF2B5EF4-FFF2-40B4-BE49-F238E27FC236}">
                <a16:creationId xmlns:a16="http://schemas.microsoft.com/office/drawing/2014/main" id="{2A5FB288-4D3A-75F6-4836-43F316570750}"/>
              </a:ext>
            </a:extLst>
          </p:cNvPr>
          <p:cNvGraphicFramePr>
            <a:graphicFrameLocks/>
          </p:cNvGraphicFramePr>
          <p:nvPr/>
        </p:nvGraphicFramePr>
        <p:xfrm>
          <a:off x="185894" y="3407965"/>
          <a:ext cx="6338974" cy="34297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AE6E56C-C083-B531-7C3B-78D84FBD6849}"/>
              </a:ext>
            </a:extLst>
          </p:cNvPr>
          <p:cNvSpPr txBox="1"/>
          <p:nvPr/>
        </p:nvSpPr>
        <p:spPr>
          <a:xfrm>
            <a:off x="2133600" y="2503714"/>
            <a:ext cx="1104790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Июнь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1F36D2-DBBD-DBBE-3D77-C4377B0B7B75}"/>
              </a:ext>
            </a:extLst>
          </p:cNvPr>
          <p:cNvSpPr txBox="1"/>
          <p:nvPr/>
        </p:nvSpPr>
        <p:spPr>
          <a:xfrm>
            <a:off x="9026151" y="2503714"/>
            <a:ext cx="1407758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оябрь </a:t>
            </a:r>
          </a:p>
        </p:txBody>
      </p:sp>
    </p:spTree>
    <p:extLst>
      <p:ext uri="{BB962C8B-B14F-4D97-AF65-F5344CB8AC3E}">
        <p14:creationId xmlns:p14="http://schemas.microsoft.com/office/powerpoint/2010/main" val="7513762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927540" y="671471"/>
            <a:ext cx="9740024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ФОТООЧЕТЫ?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6B404A3-AA14-8EEC-5D40-76FD560605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2827" y="9151753"/>
            <a:ext cx="4696523" cy="446470"/>
          </a:xfrm>
          <a:prstGeom prst="rect">
            <a:avLst/>
          </a:prstGeom>
        </p:spPr>
      </p:pic>
      <p:pic>
        <p:nvPicPr>
          <p:cNvPr id="4" name="Рисунок 3" descr="Изображение выглядит как красный, шаблон, прямоугольный, пиксель&#10;&#10;Автоматически созданное описание">
            <a:extLst>
              <a:ext uri="{FF2B5EF4-FFF2-40B4-BE49-F238E27FC236}">
                <a16:creationId xmlns:a16="http://schemas.microsoft.com/office/drawing/2014/main" id="{FB3F3013-2990-39B4-B45C-C5BE37959F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4040" y="2444661"/>
            <a:ext cx="9991271" cy="5802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788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3014625" y="464642"/>
            <a:ext cx="8888330" cy="10717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-</a:t>
            </a:r>
            <a:r>
              <a:rPr lang="en-US" sz="3182" b="1" dirty="0">
                <a:solidFill>
                  <a:srgbClr val="423D67"/>
                </a:solidFill>
                <a:latin typeface="Arial" panose="020B0604020202020204"/>
              </a:rPr>
              <a:t>2023</a:t>
            </a:r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 ГОДАХ? 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7F9009CF-6B62-5B25-E57E-6378CFE14AF2}"/>
              </a:ext>
            </a:extLst>
          </p:cNvPr>
          <p:cNvGraphicFramePr>
            <a:graphicFrameLocks/>
          </p:cNvGraphicFramePr>
          <p:nvPr/>
        </p:nvGraphicFramePr>
        <p:xfrm>
          <a:off x="6738644" y="3357554"/>
          <a:ext cx="7604306" cy="557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Объект 11">
            <a:extLst>
              <a:ext uri="{FF2B5EF4-FFF2-40B4-BE49-F238E27FC236}">
                <a16:creationId xmlns:a16="http://schemas.microsoft.com/office/drawing/2014/main" id="{B1B02147-F077-1C59-A2C3-EC0FC7B22CEC}"/>
              </a:ext>
            </a:extLst>
          </p:cNvPr>
          <p:cNvGraphicFramePr>
            <a:graphicFrameLocks/>
          </p:cNvGraphicFramePr>
          <p:nvPr/>
        </p:nvGraphicFramePr>
        <p:xfrm>
          <a:off x="223074" y="3231366"/>
          <a:ext cx="6134490" cy="3950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1AE1A7F-EDFE-914A-986F-BC1F29A6F94F}"/>
              </a:ext>
            </a:extLst>
          </p:cNvPr>
          <p:cNvSpPr txBox="1"/>
          <p:nvPr/>
        </p:nvSpPr>
        <p:spPr>
          <a:xfrm>
            <a:off x="2013857" y="2525486"/>
            <a:ext cx="1104790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Июнь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27CD4E-FB48-B4A6-3B69-B0C2C8CAC8A6}"/>
              </a:ext>
            </a:extLst>
          </p:cNvPr>
          <p:cNvSpPr txBox="1"/>
          <p:nvPr/>
        </p:nvSpPr>
        <p:spPr>
          <a:xfrm>
            <a:off x="9318172" y="2525485"/>
            <a:ext cx="1407758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оябрь </a:t>
            </a:r>
          </a:p>
        </p:txBody>
      </p:sp>
    </p:spTree>
    <p:extLst>
      <p:ext uri="{BB962C8B-B14F-4D97-AF65-F5344CB8AC3E}">
        <p14:creationId xmlns:p14="http://schemas.microsoft.com/office/powerpoint/2010/main" val="2204889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915168" y="203474"/>
            <a:ext cx="1081023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200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-2023 ГОДАХ?  </a:t>
            </a:r>
          </a:p>
        </p:txBody>
      </p:sp>
      <p:pic>
        <p:nvPicPr>
          <p:cNvPr id="6" name="Рисунок 5" descr="Изображение выглядит как прямоугольный, красный, пиксель&#10;&#10;Автоматически созданное описание">
            <a:extLst>
              <a:ext uri="{FF2B5EF4-FFF2-40B4-BE49-F238E27FC236}">
                <a16:creationId xmlns:a16="http://schemas.microsoft.com/office/drawing/2014/main" id="{4E9A470E-6511-5CA7-B585-4F94F2AD52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3650" y="2444062"/>
            <a:ext cx="10012050" cy="5803688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0ADC3AC-DCEA-DF53-1690-5CCF2EF822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2115" y="9151818"/>
            <a:ext cx="4607235" cy="446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95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FB7CD-B978-47CE-3820-067968932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952B72F6-0B02-978C-2CBE-B928DFD9BA95}"/>
              </a:ext>
            </a:extLst>
          </p:cNvPr>
          <p:cNvGraphicFramePr>
            <a:graphicFrameLocks/>
          </p:cNvGraphicFramePr>
          <p:nvPr/>
        </p:nvGraphicFramePr>
        <p:xfrm>
          <a:off x="484595" y="2269067"/>
          <a:ext cx="14305230" cy="8003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2ADCFEC2-8B47-A73E-843C-AAC67548BCFF}"/>
              </a:ext>
            </a:extLst>
          </p:cNvPr>
          <p:cNvSpPr/>
          <p:nvPr/>
        </p:nvSpPr>
        <p:spPr>
          <a:xfrm>
            <a:off x="2636191" y="669781"/>
            <a:ext cx="9066111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ПРОБЛЕМЫ, БЕСПОКОЯЩИЕ УЧИТЕЛЕЙ   </a:t>
            </a:r>
          </a:p>
        </p:txBody>
      </p:sp>
    </p:spTree>
    <p:extLst>
      <p:ext uri="{BB962C8B-B14F-4D97-AF65-F5344CB8AC3E}">
        <p14:creationId xmlns:p14="http://schemas.microsoft.com/office/powerpoint/2010/main" val="1847812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EB6698-288A-2061-C49C-E5EE840520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1F9F62FE-02E7-5FF2-B6F5-FFA52ABDD802}"/>
              </a:ext>
            </a:extLst>
          </p:cNvPr>
          <p:cNvSpPr/>
          <p:nvPr/>
        </p:nvSpPr>
        <p:spPr>
          <a:xfrm>
            <a:off x="3832896" y="821029"/>
            <a:ext cx="6986274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ЗАМКНУТЫЙ КРУГ ПРОБЛЕМ  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F65C861-E208-DA85-19F0-656A3A4E63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7032" y="2801044"/>
            <a:ext cx="6421907" cy="4344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09CB159-5DB4-EBC7-B1F7-7BE6CFF274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074" y="5345906"/>
            <a:ext cx="4429125" cy="4429125"/>
          </a:xfrm>
          <a:prstGeom prst="rect">
            <a:avLst/>
          </a:prstGeom>
        </p:spPr>
      </p:pic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E2C85E34-2439-79B0-ED02-2CA778C8EC22}"/>
              </a:ext>
            </a:extLst>
          </p:cNvPr>
          <p:cNvGraphicFramePr>
            <a:graphicFrameLocks/>
          </p:cNvGraphicFramePr>
          <p:nvPr/>
        </p:nvGraphicFramePr>
        <p:xfrm>
          <a:off x="602564" y="2920283"/>
          <a:ext cx="12733479" cy="6231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9381845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DB637-617A-2280-344C-2390729F0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F53A13AE-BE8E-B419-5DCA-017AA2082864}"/>
              </a:ext>
            </a:extLst>
          </p:cNvPr>
          <p:cNvGraphicFramePr>
            <a:graphicFrameLocks noGrp="1"/>
          </p:cNvGraphicFramePr>
          <p:nvPr/>
        </p:nvGraphicFramePr>
        <p:xfrm>
          <a:off x="423637" y="2205079"/>
          <a:ext cx="6804477" cy="82610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418337">
                  <a:extLst>
                    <a:ext uri="{9D8B030D-6E8A-4147-A177-3AD203B41FA5}">
                      <a16:colId xmlns:a16="http://schemas.microsoft.com/office/drawing/2014/main" val="626156863"/>
                    </a:ext>
                  </a:extLst>
                </a:gridCol>
                <a:gridCol w="1386140">
                  <a:extLst>
                    <a:ext uri="{9D8B030D-6E8A-4147-A177-3AD203B41FA5}">
                      <a16:colId xmlns:a16="http://schemas.microsoft.com/office/drawing/2014/main" val="1765475017"/>
                    </a:ext>
                  </a:extLst>
                </a:gridCol>
              </a:tblGrid>
              <a:tr h="11744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600" kern="100" dirty="0">
                          <a:effectLst/>
                        </a:rPr>
                        <a:t>Наименование документа</a:t>
                      </a:r>
                      <a:endParaRPr lang="ru-RU" sz="16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600" kern="100" dirty="0">
                          <a:effectLst/>
                        </a:rPr>
                        <a:t>Доля педагогов, заполняющих документ (%)</a:t>
                      </a:r>
                      <a:endParaRPr lang="ru-RU" sz="16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532309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Рабочая программа по учебному предмету (в т.ч. элективным курсам)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96,5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790001"/>
                  </a:ext>
                </a:extLst>
              </a:tr>
              <a:tr h="462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Календарно-тематический план по учебному предмету (в т.ч. элективным курсам)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89,8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049079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Электронный журнал успеваем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84,8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8323330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об успеваем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80,2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409954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Личные дела обучающих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7,9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1519259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Рабочие программы курсов внеурочной деятельн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76,6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158966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 воспитательной работы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75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4287049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ортфолио учителя, документы для аттестаци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5,2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604376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Социальный паспорт класса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5,0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450077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Журнал инструктажей по технике безопасн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3,5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214525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Сведения о родителях обучающих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70,5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2868046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ёт об исполнении учебной программы по преподаваемому предмету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0,4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863002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о посещаемости обучающих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69,0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14337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Анализ воспитательной работы учителя – классного руководител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67,2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706429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о выполнении ВПР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66,3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7689454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Журнал протоколов родительских собраний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63,4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869153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Журнал внеурочной деятельн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61,9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33254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Отчет о реализации плана воспитательной работы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54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833037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Отчет о работе с отстающими обучающимися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51,6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112364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рограмма работы с отстающими обучающими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50,1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65238"/>
                  </a:ext>
                </a:extLst>
              </a:tr>
              <a:tr h="462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 о внеурочной деятельности (олимпиады, конкурсы, иные мероприятия)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49,1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773767"/>
                  </a:ext>
                </a:extLst>
              </a:tr>
              <a:tr h="462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униципального органа управления образованием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48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3435872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 о занятости обучающихся в каникулярный период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47,8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900205"/>
                  </a:ext>
                </a:extLst>
              </a:tr>
            </a:tbl>
          </a:graphicData>
        </a:graphic>
      </p:graphicFrame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EACC3328-5D23-6B88-5BD8-ECC8CF6662E9}"/>
              </a:ext>
            </a:extLst>
          </p:cNvPr>
          <p:cNvGraphicFramePr>
            <a:graphicFrameLocks noGrp="1"/>
          </p:cNvGraphicFramePr>
          <p:nvPr/>
        </p:nvGraphicFramePr>
        <p:xfrm>
          <a:off x="7429046" y="2205079"/>
          <a:ext cx="7015683" cy="82610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586519">
                  <a:extLst>
                    <a:ext uri="{9D8B030D-6E8A-4147-A177-3AD203B41FA5}">
                      <a16:colId xmlns:a16="http://schemas.microsoft.com/office/drawing/2014/main" val="2038078345"/>
                    </a:ext>
                  </a:extLst>
                </a:gridCol>
                <a:gridCol w="1429164">
                  <a:extLst>
                    <a:ext uri="{9D8B030D-6E8A-4147-A177-3AD203B41FA5}">
                      <a16:colId xmlns:a16="http://schemas.microsoft.com/office/drawing/2014/main" val="1504093582"/>
                    </a:ext>
                  </a:extLst>
                </a:gridCol>
              </a:tblGrid>
              <a:tr h="112000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600" kern="100" dirty="0">
                          <a:effectLst/>
                        </a:rPr>
                        <a:t>Наименование документа</a:t>
                      </a:r>
                      <a:endParaRPr lang="ru-RU" sz="16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600" kern="100" dirty="0">
                          <a:effectLst/>
                        </a:rPr>
                        <a:t>Доля педагогов, заполняющих документ (%)</a:t>
                      </a:r>
                      <a:endParaRPr lang="ru-RU" sz="16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519222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Рабочая программа воспитани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7,7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933284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Информация по итогам проведенных мероприятий, участии в акциях и др.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6,6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550711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Табель учета питания обучающих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6,1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9799796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Анализ результатов ОГЭ, ЕГЭ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4,7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445870"/>
                  </a:ext>
                </a:extLst>
              </a:tr>
              <a:tr h="4658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Информация о работе с обучающимися, состоящими на внутришкольном профилактическом учете и учете в ПДН УВД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3,9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7657986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 работы с обучающимися с ОВЗ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38,8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284444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Индивидуальные карты занятости обучающихся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37,8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9263310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Журнал протоколов классных часов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7,3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756229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ы по подготовке к ОГЭ, ЕГЭ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7,0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031154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 работы с одаренными детьм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36,1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870532"/>
                  </a:ext>
                </a:extLst>
              </a:tr>
              <a:tr h="4363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Акты обследования жилищно-бытовых условий семьи несовершеннолетнего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4,8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118802"/>
                  </a:ext>
                </a:extLst>
              </a:tr>
              <a:tr h="4363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егионального органа управления образованием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3,9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5646045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Бумажный журнал успеваемости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31,7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694912"/>
                  </a:ext>
                </a:extLst>
              </a:tr>
              <a:tr h="4658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проведением экскурсий (маршрутные листы, медицинские справки, сведения о транспорте и др.)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1,3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682040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эпидемиологической ситуацией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0,9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0475692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Отчет о работе с обучающимися с ОВЗ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0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811760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Отчет о работе с одаренными детьми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9,8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496222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рограмма развития универсальных учебных действий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7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880137"/>
                  </a:ext>
                </a:extLst>
              </a:tr>
              <a:tr h="4363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Карты индивидуального сопровождения обучающихся различных групп учета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5,4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19499"/>
                  </a:ext>
                </a:extLst>
              </a:tr>
              <a:tr h="4658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федерального органа управления и контроля в сфере образовани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4,0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884243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 подготовки обучающихся к участию в олимпиадах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2,6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964885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Самоанализ воспитательного компонента урока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1,1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090782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оспотребнадзора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0,3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8977525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Мониторинг по патриотическому воспитанию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16,6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688745"/>
                  </a:ext>
                </a:extLst>
              </a:tr>
            </a:tbl>
          </a:graphicData>
        </a:graphic>
      </p:graphicFrame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AA19540C-EF64-E314-AD60-DDE0EEEEEDCC}"/>
              </a:ext>
            </a:extLst>
          </p:cNvPr>
          <p:cNvSpPr/>
          <p:nvPr/>
        </p:nvSpPr>
        <p:spPr>
          <a:xfrm>
            <a:off x="1885422" y="502840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ДОКУМЕНТАЦИЯ УЧИТЕЛЯ В 2021 ГОДУ </a:t>
            </a:r>
          </a:p>
        </p:txBody>
      </p:sp>
    </p:spTree>
    <p:extLst>
      <p:ext uri="{BB962C8B-B14F-4D97-AF65-F5344CB8AC3E}">
        <p14:creationId xmlns:p14="http://schemas.microsoft.com/office/powerpoint/2010/main" val="18211536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7DFCA7-4A9C-7411-1C24-93A3388B8A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83D290E7-0655-9F04-4218-59E088B17610}"/>
              </a:ext>
            </a:extLst>
          </p:cNvPr>
          <p:cNvSpPr/>
          <p:nvPr/>
        </p:nvSpPr>
        <p:spPr>
          <a:xfrm>
            <a:off x="1364888" y="580480"/>
            <a:ext cx="10252291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200" b="1" dirty="0">
                <a:solidFill>
                  <a:srgbClr val="423D67"/>
                </a:solidFill>
              </a:rPr>
              <a:t>ДОКУМЕНТАЦИЯ ВОСПИТАТЕЛЯ  </a:t>
            </a:r>
          </a:p>
        </p:txBody>
      </p:sp>
      <p:graphicFrame>
        <p:nvGraphicFramePr>
          <p:cNvPr id="3" name="Объект 3">
            <a:extLst>
              <a:ext uri="{FF2B5EF4-FFF2-40B4-BE49-F238E27FC236}">
                <a16:creationId xmlns:a16="http://schemas.microsoft.com/office/drawing/2014/main" id="{C196C7AD-A5E2-3C59-4963-F5FB2C6646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2835532"/>
              </p:ext>
            </p:extLst>
          </p:nvPr>
        </p:nvGraphicFramePr>
        <p:xfrm>
          <a:off x="166762" y="2129246"/>
          <a:ext cx="7034733" cy="824266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1563">
                  <a:extLst>
                    <a:ext uri="{9D8B030D-6E8A-4147-A177-3AD203B41FA5}">
                      <a16:colId xmlns:a16="http://schemas.microsoft.com/office/drawing/2014/main" val="3619872456"/>
                    </a:ext>
                  </a:extLst>
                </a:gridCol>
                <a:gridCol w="5513067">
                  <a:extLst>
                    <a:ext uri="{9D8B030D-6E8A-4147-A177-3AD203B41FA5}">
                      <a16:colId xmlns:a16="http://schemas.microsoft.com/office/drawing/2014/main" val="204692504"/>
                    </a:ext>
                  </a:extLst>
                </a:gridCol>
                <a:gridCol w="1180103">
                  <a:extLst>
                    <a:ext uri="{9D8B030D-6E8A-4147-A177-3AD203B41FA5}">
                      <a16:colId xmlns:a16="http://schemas.microsoft.com/office/drawing/2014/main" val="443663958"/>
                    </a:ext>
                  </a:extLst>
                </a:gridCol>
              </a:tblGrid>
              <a:tr h="798358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№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Документ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510078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Результаты мониторинга (заполняется два раза в год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81,21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8039389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лендарно-тематический план</a:t>
                      </a: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8,5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947603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абель посещаем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7,7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302764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Сведения о родителях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6,80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005686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ротоколы родительских собрани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4,8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4333498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посещаемости дете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4,5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183137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заимодействия с родителями (законными представителями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2,21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880712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ерспективное планирование образовательной деятель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2,13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8523397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9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утренний фильтр (указывается  температура и осмотр ребёнк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0,8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9629053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Комплексно-тематическое планирование образовательной деятель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0,0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0827874"/>
                  </a:ext>
                </a:extLst>
              </a:tr>
              <a:tr h="557030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оспитательно-образовательной деятельности на летний оздоровительный период (ЛОП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7,93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17593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етрадь по самообразованию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5,04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5078730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заимодействия с семьями на учебный год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2,57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0967625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Расписание непрерывной образовательной деятельности (НОД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2,5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593621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учёта использования бактерицидной ламп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2,2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7953232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спорт групп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0,94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387441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пка с доверенностями на лиц, имеющих право забирать ребенка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58,47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398901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Режим дня детей (на тёплый и холодный периоды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56,1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7147151"/>
                  </a:ext>
                </a:extLst>
              </a:tr>
              <a:tr h="321798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9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Учебный план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53,8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2439119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работы по правилам дорожного движения (ПДД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8,70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531194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Договор родительского соглас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7,7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454337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пка с инструкциями по охране жизни и здоровья дете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6,7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246893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Социальный паспорт групп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5,67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6638207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индивидуальной работы с деть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5,20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4347912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смены воды (указывается питьевой режим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4,9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7878605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Лист адаптации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4,3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4711077"/>
                  </a:ext>
                </a:extLst>
              </a:tr>
              <a:tr h="26261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Лист (</a:t>
                      </a:r>
                      <a:r>
                        <a:rPr lang="ru-RU" sz="1000" dirty="0" err="1">
                          <a:effectLst/>
                        </a:rPr>
                        <a:t>паспотрт</a:t>
                      </a:r>
                      <a:r>
                        <a:rPr lang="ru-RU" sz="1000" dirty="0">
                          <a:effectLst/>
                        </a:rPr>
                        <a:t>) здоровья дете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4,09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3074238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C370F69-A76F-12A5-6791-E62277A43547}"/>
              </a:ext>
            </a:extLst>
          </p:cNvPr>
          <p:cNvGraphicFramePr>
            <a:graphicFrameLocks noGrp="1"/>
          </p:cNvGraphicFramePr>
          <p:nvPr/>
        </p:nvGraphicFramePr>
        <p:xfrm>
          <a:off x="7423566" y="2129247"/>
          <a:ext cx="7529027" cy="82426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6564">
                  <a:extLst>
                    <a:ext uri="{9D8B030D-6E8A-4147-A177-3AD203B41FA5}">
                      <a16:colId xmlns:a16="http://schemas.microsoft.com/office/drawing/2014/main" val="1079184871"/>
                    </a:ext>
                  </a:extLst>
                </a:gridCol>
                <a:gridCol w="5982570">
                  <a:extLst>
                    <a:ext uri="{9D8B030D-6E8A-4147-A177-3AD203B41FA5}">
                      <a16:colId xmlns:a16="http://schemas.microsoft.com/office/drawing/2014/main" val="1849455953"/>
                    </a:ext>
                  </a:extLst>
                </a:gridCol>
                <a:gridCol w="1139893">
                  <a:extLst>
                    <a:ext uri="{9D8B030D-6E8A-4147-A177-3AD203B41FA5}">
                      <a16:colId xmlns:a16="http://schemas.microsoft.com/office/drawing/2014/main" val="3641868477"/>
                    </a:ext>
                  </a:extLst>
                </a:gridCol>
              </a:tblGrid>
              <a:tr h="789116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№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Документ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8899" marR="28899" marT="0" marB="0"/>
                </a:tc>
                <a:extLst>
                  <a:ext uri="{0D108BD9-81ED-4DB2-BD59-A6C34878D82A}">
                    <a16:rowId xmlns:a16="http://schemas.microsoft.com/office/drawing/2014/main" val="1988528786"/>
                  </a:ext>
                </a:extLst>
              </a:tr>
              <a:tr h="292540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  <a:latin typeface="+mn-lt"/>
                        </a:rPr>
                        <a:t>28</a:t>
                      </a:r>
                      <a:endParaRPr lang="ru-RU" sz="11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 влажных уборок и проветривания 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,90%</a:t>
                      </a: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272422244"/>
                  </a:ext>
                </a:extLst>
              </a:tr>
              <a:tr h="2527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Иные документ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1,25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348437571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пка физкультурно-оздоровительной работ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39,3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31464154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обработки игрушек и игрового оборудован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9,35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794067881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на карантин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8,14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977402200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осмотра на педикулёз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7,6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4051748848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осмотра территори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7,49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742448698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Лит посадки за стола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7,41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752623357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Карта развития ребенка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6,17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937619570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закалива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5,9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880477019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Сведения о неблагополучных семьях, план работы с неблагополучными семья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4,56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414622441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Ежедневный режим двигательной активности в организованных видах деятель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3,5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273664238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етрадь осмотра кожи и зева детей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3,2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781695495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етрадь стула детей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33,0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448185951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Социально-демографические паспорта семей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32,5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637513752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оложение о групповом родительском комитете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1,7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160943443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заимодействия с социальными партнера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8,8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727475660"/>
                  </a:ext>
                </a:extLst>
              </a:tr>
              <a:tr h="62074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взаимодействия воспитателя группы компенсирующей направленности со специалистами (учитель-логопед, музыкальный руководитель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8,61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669943098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ротоколы заседаний родительских клубов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5,5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968092387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Безопасный маршрут «Дом-детский сад-дом (для старшей группы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4,0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517203527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лан клубно – кружковой деятельност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3,3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232373727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Анкеты прогноза адаптации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3,1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294266366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Дневник группы (для групп раннего возраст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3,10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250636593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Социально-биологический анамнез (анкета –опросник) (для групп раннего возраст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17,74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556060663"/>
                  </a:ext>
                </a:extLst>
              </a:tr>
              <a:tr h="30186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Карты нервно-психического развития (НПР) (для групп раннего возраст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16,19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438411791"/>
                  </a:ext>
                </a:extLst>
              </a:tr>
              <a:tr h="251452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Тетрадь посещений на дому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13,63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928479790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DA366DBA-4A41-2D20-D221-1AEC6EB982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3568" y="2823695"/>
            <a:ext cx="229069" cy="600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3395" tIns="56698" rIns="113395" bIns="5669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3156"/>
          </a:p>
        </p:txBody>
      </p:sp>
    </p:spTree>
    <p:extLst>
      <p:ext uri="{BB962C8B-B14F-4D97-AF65-F5344CB8AC3E}">
        <p14:creationId xmlns:p14="http://schemas.microsoft.com/office/powerpoint/2010/main" val="21443079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4E5B2A-1874-DB9D-62EB-7C57A040E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A79D555E-B7CB-F5D0-762E-B77800C9A695}"/>
              </a:ext>
            </a:extLst>
          </p:cNvPr>
          <p:cNvSpPr/>
          <p:nvPr/>
        </p:nvSpPr>
        <p:spPr>
          <a:xfrm>
            <a:off x="1413337" y="447363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ДОКУМЕНТАЦИЯ ПРЕПОДАВАТЕЛЯ СПО  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5D570B50-7C28-3575-6DE2-6DFDA74CE8E7}"/>
              </a:ext>
            </a:extLst>
          </p:cNvPr>
          <p:cNvGraphicFramePr>
            <a:graphicFrameLocks noGrp="1"/>
          </p:cNvGraphicFramePr>
          <p:nvPr/>
        </p:nvGraphicFramePr>
        <p:xfrm>
          <a:off x="305139" y="1687286"/>
          <a:ext cx="7108032" cy="88512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8086">
                  <a:extLst>
                    <a:ext uri="{9D8B030D-6E8A-4147-A177-3AD203B41FA5}">
                      <a16:colId xmlns:a16="http://schemas.microsoft.com/office/drawing/2014/main" val="368960046"/>
                    </a:ext>
                  </a:extLst>
                </a:gridCol>
                <a:gridCol w="5443009">
                  <a:extLst>
                    <a:ext uri="{9D8B030D-6E8A-4147-A177-3AD203B41FA5}">
                      <a16:colId xmlns:a16="http://schemas.microsoft.com/office/drawing/2014/main" val="2721034797"/>
                    </a:ext>
                  </a:extLst>
                </a:gridCol>
                <a:gridCol w="1126937">
                  <a:extLst>
                    <a:ext uri="{9D8B030D-6E8A-4147-A177-3AD203B41FA5}">
                      <a16:colId xmlns:a16="http://schemas.microsoft.com/office/drawing/2014/main" val="1717893428"/>
                    </a:ext>
                  </a:extLst>
                </a:gridCol>
              </a:tblGrid>
              <a:tr h="139907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en-US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аименование документа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Доля педагогов, заполняющих документ (%)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41648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чая программа дисциплины (модуля)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836623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учета успеваемост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421299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кзаменационная и (или) зачетная ведомост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5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928711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ртфолио преподавателя, документы для аттестаци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99877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лендарно-тематический план по учебному предмету (в т.ч. элективным курсам)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8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39065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об успеваемости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8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274024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инструктажей по технике безопасности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2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913421"/>
                  </a:ext>
                </a:extLst>
              </a:tr>
              <a:tr h="5717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формация по итогам проведенных мероприятий, участии в акциях и др.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16930"/>
                  </a:ext>
                </a:extLst>
              </a:tr>
              <a:tr h="5654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ёт об исполнении учебной программы по преподаваемой дисциплине, практике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4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925560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ведения о родителях обучающихс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2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21745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воспитательной работы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1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14200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циальный паспорт группы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476263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реализации плана воспитательной работы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18279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чные дела обучающихс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17668"/>
                  </a:ext>
                </a:extLst>
              </a:tr>
              <a:tr h="5654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чая программа практики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8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611368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практике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5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257930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протоколов классных часов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3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13612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формация о работе с обучающимися, состоящими на учете в ПДН УВД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2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33814"/>
                  </a:ext>
                </a:extLst>
              </a:tr>
              <a:tr h="3377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муниципального органа управления образованием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289637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занятости обучающихся в каникулярный период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046217"/>
                  </a:ext>
                </a:extLst>
              </a:tr>
            </a:tbl>
          </a:graphicData>
        </a:graphic>
      </p:graphicFrame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51F08207-3955-749B-FC0C-EAB22CDBB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8306316"/>
              </p:ext>
            </p:extLst>
          </p:nvPr>
        </p:nvGraphicFramePr>
        <p:xfrm>
          <a:off x="7559675" y="1687286"/>
          <a:ext cx="7440502" cy="875493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3255">
                  <a:extLst>
                    <a:ext uri="{9D8B030D-6E8A-4147-A177-3AD203B41FA5}">
                      <a16:colId xmlns:a16="http://schemas.microsoft.com/office/drawing/2014/main" val="368960046"/>
                    </a:ext>
                  </a:extLst>
                </a:gridCol>
                <a:gridCol w="5743322">
                  <a:extLst>
                    <a:ext uri="{9D8B030D-6E8A-4147-A177-3AD203B41FA5}">
                      <a16:colId xmlns:a16="http://schemas.microsoft.com/office/drawing/2014/main" val="2721034797"/>
                    </a:ext>
                  </a:extLst>
                </a:gridCol>
                <a:gridCol w="1133925">
                  <a:extLst>
                    <a:ext uri="{9D8B030D-6E8A-4147-A177-3AD203B41FA5}">
                      <a16:colId xmlns:a16="http://schemas.microsoft.com/office/drawing/2014/main" val="1717893428"/>
                    </a:ext>
                  </a:extLst>
                </a:gridCol>
              </a:tblGrid>
              <a:tr h="13928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en-US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аименование документа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Доля педагогов, заполняющих документ (%)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41648"/>
                  </a:ext>
                </a:extLst>
              </a:tr>
              <a:tr h="3730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научно-исследовательской работы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836623"/>
                  </a:ext>
                </a:extLst>
              </a:tr>
              <a:tr h="3730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научно-исследовательской работе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421299"/>
                  </a:ext>
                </a:extLst>
              </a:tr>
              <a:tr h="3730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работы с отстающими обучающимися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928711"/>
                  </a:ext>
                </a:extLst>
              </a:tr>
              <a:tr h="3730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работе с отстающими обучающимися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99877"/>
                  </a:ext>
                </a:extLst>
              </a:tr>
              <a:tr h="3730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ниторинг по патриотическому воспитанию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39065"/>
                  </a:ext>
                </a:extLst>
              </a:tr>
              <a:tr h="3730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о выполнении ВПР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274024"/>
                  </a:ext>
                </a:extLst>
              </a:tr>
              <a:tr h="5297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кументация, связанная с эпидемиологической ситуацией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913421"/>
                  </a:ext>
                </a:extLst>
              </a:tr>
              <a:tr h="6066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по работе с отстающими обучающимис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16930"/>
                  </a:ext>
                </a:extLst>
              </a:tr>
              <a:tr h="600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регионального органа управления образованием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925560"/>
                  </a:ext>
                </a:extLst>
              </a:tr>
              <a:tr h="53514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кументация, связанная с проведением экскурсий (маршрутные листы, медицинские справки, сведения о транспорте и др.)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21745"/>
                  </a:ext>
                </a:extLst>
              </a:tr>
              <a:tr h="53514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федерального органа управления и контроля в сфере образовани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14200"/>
                  </a:ext>
                </a:extLst>
              </a:tr>
              <a:tr h="53514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кты обследования жилищно-бытовых условий семьи несовершеннолетнего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476263"/>
                  </a:ext>
                </a:extLst>
              </a:tr>
              <a:tr h="2955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дивидуальные карты занятости обучающихс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18279"/>
                  </a:ext>
                </a:extLst>
              </a:tr>
              <a:tr h="2955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Роспотребнадзора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17668"/>
                  </a:ext>
                </a:extLst>
              </a:tr>
              <a:tr h="600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работы с обучающимися с ОВЗ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611368"/>
                  </a:ext>
                </a:extLst>
              </a:tr>
              <a:tr h="2955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работе с обучающимися с ОВЗ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257930"/>
                  </a:ext>
                </a:extLst>
              </a:tr>
              <a:tr h="2955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МЧС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136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29011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5A561-D55E-75C6-78C7-C88E2C1F46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C7F7600B-5884-8AE0-96FC-BDFE2097DD53}"/>
              </a:ext>
            </a:extLst>
          </p:cNvPr>
          <p:cNvSpPr/>
          <p:nvPr/>
        </p:nvSpPr>
        <p:spPr>
          <a:xfrm>
            <a:off x="2316449" y="465748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ДОКУМЕНТАЦИЯ ПРЕПОДАВАТЕЛЯ ВУЗА  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F0415CD-7D4B-17DE-FD7A-E9814F7ABB27}"/>
              </a:ext>
            </a:extLst>
          </p:cNvPr>
          <p:cNvGraphicFramePr>
            <a:graphicFrameLocks noGrp="1"/>
          </p:cNvGraphicFramePr>
          <p:nvPr/>
        </p:nvGraphicFramePr>
        <p:xfrm>
          <a:off x="305139" y="1937658"/>
          <a:ext cx="6954726" cy="847956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26481">
                  <a:extLst>
                    <a:ext uri="{9D8B030D-6E8A-4147-A177-3AD203B41FA5}">
                      <a16:colId xmlns:a16="http://schemas.microsoft.com/office/drawing/2014/main" val="368960046"/>
                    </a:ext>
                  </a:extLst>
                </a:gridCol>
                <a:gridCol w="5325614">
                  <a:extLst>
                    <a:ext uri="{9D8B030D-6E8A-4147-A177-3AD203B41FA5}">
                      <a16:colId xmlns:a16="http://schemas.microsoft.com/office/drawing/2014/main" val="2721034797"/>
                    </a:ext>
                  </a:extLst>
                </a:gridCol>
                <a:gridCol w="1102631">
                  <a:extLst>
                    <a:ext uri="{9D8B030D-6E8A-4147-A177-3AD203B41FA5}">
                      <a16:colId xmlns:a16="http://schemas.microsoft.com/office/drawing/2014/main" val="1717893428"/>
                    </a:ext>
                  </a:extLst>
                </a:gridCol>
              </a:tblGrid>
              <a:tr h="139907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en-US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аименование документа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Доля педагогов, заполняющих документ (%)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41648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Рабочая программа дисциплины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836623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Экзаменационные и зачетные ведомости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421299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Индивидуальный план работы преподавателя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928711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Фонды оценочных средств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2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99877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Зачетные книжки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2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39065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Индивидуальный отчет по НИД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8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274024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Отзыв руководителя на ВКР студента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5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913421"/>
                  </a:ext>
                </a:extLst>
              </a:tr>
              <a:tr h="5717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Рецензии на учебные пособия, учебно-методические работы, научные материалы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2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16930"/>
                  </a:ext>
                </a:extLst>
              </a:tr>
              <a:tr h="5654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Наполнение странички на персональном сайте преподавателей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2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925560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Почасовые ведомости, заявления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1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21745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Рабочая программа практики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0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14200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Заявка на издание учебной литературы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0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476263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Справки на антиплагиат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68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18279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Матрицы компетенций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64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17668"/>
                  </a:ext>
                </a:extLst>
              </a:tr>
              <a:tr h="5654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Индивидуальный план работы студента в рамках выполнения ВКР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56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611368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Отзывы на авторефераты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53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257930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Протоколы работы экзаменационной комиссии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51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13612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Отчет о практике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50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33814"/>
                  </a:ext>
                </a:extLst>
              </a:tr>
              <a:tr h="3377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Справки по курсовым работам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39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289637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Докладные на практику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28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046217"/>
                  </a:ext>
                </a:extLst>
              </a:tr>
            </a:tbl>
          </a:graphicData>
        </a:graphic>
      </p:graphicFrame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0D5611DA-C74F-667E-CFE8-5A62B066663A}"/>
              </a:ext>
            </a:extLst>
          </p:cNvPr>
          <p:cNvGraphicFramePr>
            <a:graphicFrameLocks noGrp="1"/>
          </p:cNvGraphicFramePr>
          <p:nvPr/>
        </p:nvGraphicFramePr>
        <p:xfrm>
          <a:off x="7559676" y="1948543"/>
          <a:ext cx="7440502" cy="85054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3255">
                  <a:extLst>
                    <a:ext uri="{9D8B030D-6E8A-4147-A177-3AD203B41FA5}">
                      <a16:colId xmlns:a16="http://schemas.microsoft.com/office/drawing/2014/main" val="368960046"/>
                    </a:ext>
                  </a:extLst>
                </a:gridCol>
                <a:gridCol w="5743322">
                  <a:extLst>
                    <a:ext uri="{9D8B030D-6E8A-4147-A177-3AD203B41FA5}">
                      <a16:colId xmlns:a16="http://schemas.microsoft.com/office/drawing/2014/main" val="2721034797"/>
                    </a:ext>
                  </a:extLst>
                </a:gridCol>
                <a:gridCol w="1133925">
                  <a:extLst>
                    <a:ext uri="{9D8B030D-6E8A-4147-A177-3AD203B41FA5}">
                      <a16:colId xmlns:a16="http://schemas.microsoft.com/office/drawing/2014/main" val="1717893428"/>
                    </a:ext>
                  </a:extLst>
                </a:gridCol>
              </a:tblGrid>
              <a:tr h="14368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en-US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аименование документа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Доля педагогов, заполняющих документ (%)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41648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ы посещаемост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836623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ёты по эффективному контракту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421299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ёты по НИР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928711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нообразные анкеты и опросы Минобразования и т.д.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99877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взаимопосещений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39065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тематики проведенных занятий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274024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полнение индивидуальной таблицы мониторинга эффективности показателей педагогического состава в ЭИОС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913421"/>
                  </a:ext>
                </a:extLst>
              </a:tr>
              <a:tr h="4988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дивидуальный отчет о профориентационной работе с будущими абитуриентам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16930"/>
                  </a:ext>
                </a:extLst>
              </a:tr>
              <a:tr h="49332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лужебные записк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925560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ёт куратора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21745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 и корректировка программ ГИА с учетом изменений компетенций по ФГОС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14200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токолы контрольных занятий преподавателей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476263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трудоустройству выпускников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18279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нятость преподавателя на каждый семестр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17668"/>
                  </a:ext>
                </a:extLst>
              </a:tr>
              <a:tr h="49332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ннотации программ рабочих дисциплин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611368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тодические материалы по дисциплине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257930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очные материалы по дисциплине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13612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стовые задания входного контроля по дисциплинам в системе дистанционного обучения на платформе Moodle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33814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работы студенческого научного кружка. Отчет руководителя о работе СНК.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289637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куратора студенческой группы.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0462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5172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2AFB90B0-B7DD-50E8-A36C-AE69B3350E8B}"/>
              </a:ext>
            </a:extLst>
          </p:cNvPr>
          <p:cNvSpPr/>
          <p:nvPr/>
        </p:nvSpPr>
        <p:spPr>
          <a:xfrm>
            <a:off x="1413337" y="447363"/>
            <a:ext cx="994377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РЕШАЕМАЯ ПРОБЛЕМА </a:t>
            </a:r>
          </a:p>
        </p:txBody>
      </p:sp>
      <p:grpSp>
        <p:nvGrpSpPr>
          <p:cNvPr id="4" name="object 7">
            <a:extLst>
              <a:ext uri="{FF2B5EF4-FFF2-40B4-BE49-F238E27FC236}">
                <a16:creationId xmlns:a16="http://schemas.microsoft.com/office/drawing/2014/main" id="{9E1D0E6B-701C-2786-6CE4-E99AD1655B21}"/>
              </a:ext>
            </a:extLst>
          </p:cNvPr>
          <p:cNvGrpSpPr/>
          <p:nvPr/>
        </p:nvGrpSpPr>
        <p:grpSpPr>
          <a:xfrm>
            <a:off x="1291833" y="1660186"/>
            <a:ext cx="3334786" cy="850245"/>
            <a:chOff x="1422272" y="1705864"/>
            <a:chExt cx="2686050" cy="467995"/>
          </a:xfrm>
        </p:grpSpPr>
        <p:sp>
          <p:nvSpPr>
            <p:cNvPr id="5" name="object 8">
              <a:extLst>
                <a:ext uri="{FF2B5EF4-FFF2-40B4-BE49-F238E27FC236}">
                  <a16:creationId xmlns:a16="http://schemas.microsoft.com/office/drawing/2014/main" id="{98ADA1A9-3BF9-6154-A516-B8E47AD971E8}"/>
                </a:ext>
              </a:extLst>
            </p:cNvPr>
            <p:cNvSpPr/>
            <p:nvPr/>
          </p:nvSpPr>
          <p:spPr>
            <a:xfrm>
              <a:off x="1422272" y="1705864"/>
              <a:ext cx="2686050" cy="467995"/>
            </a:xfrm>
            <a:custGeom>
              <a:avLst/>
              <a:gdLst/>
              <a:ahLst/>
              <a:cxnLst/>
              <a:rect l="l" t="t" r="r" b="b"/>
              <a:pathLst>
                <a:path w="2686050" h="467994">
                  <a:moveTo>
                    <a:pt x="2685923" y="0"/>
                  </a:moveTo>
                  <a:lnTo>
                    <a:pt x="0" y="0"/>
                  </a:lnTo>
                  <a:lnTo>
                    <a:pt x="0" y="467613"/>
                  </a:lnTo>
                  <a:lnTo>
                    <a:pt x="2685923" y="467613"/>
                  </a:lnTo>
                  <a:lnTo>
                    <a:pt x="2685923" y="0"/>
                  </a:lnTo>
                  <a:close/>
                </a:path>
              </a:pathLst>
            </a:custGeom>
            <a:solidFill>
              <a:srgbClr val="8888D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9">
              <a:extLst>
                <a:ext uri="{FF2B5EF4-FFF2-40B4-BE49-F238E27FC236}">
                  <a16:creationId xmlns:a16="http://schemas.microsoft.com/office/drawing/2014/main" id="{0416E122-7492-6C6C-7555-17B5572458CD}"/>
                </a:ext>
              </a:extLst>
            </p:cNvPr>
            <p:cNvSpPr/>
            <p:nvPr/>
          </p:nvSpPr>
          <p:spPr>
            <a:xfrm>
              <a:off x="1422273" y="1705863"/>
              <a:ext cx="2686050" cy="467995"/>
            </a:xfrm>
            <a:custGeom>
              <a:avLst/>
              <a:gdLst/>
              <a:ahLst/>
              <a:cxnLst/>
              <a:rect l="l" t="t" r="r" b="b"/>
              <a:pathLst>
                <a:path w="2686050" h="467994">
                  <a:moveTo>
                    <a:pt x="187198" y="0"/>
                  </a:moveTo>
                  <a:lnTo>
                    <a:pt x="10160" y="0"/>
                  </a:lnTo>
                  <a:lnTo>
                    <a:pt x="10160" y="241681"/>
                  </a:lnTo>
                  <a:lnTo>
                    <a:pt x="187198" y="0"/>
                  </a:lnTo>
                  <a:close/>
                </a:path>
                <a:path w="2686050" h="467994">
                  <a:moveTo>
                    <a:pt x="490601" y="0"/>
                  </a:moveTo>
                  <a:lnTo>
                    <a:pt x="337439" y="0"/>
                  </a:lnTo>
                  <a:lnTo>
                    <a:pt x="0" y="467614"/>
                  </a:lnTo>
                  <a:lnTo>
                    <a:pt x="153035" y="467614"/>
                  </a:lnTo>
                  <a:lnTo>
                    <a:pt x="490601" y="0"/>
                  </a:lnTo>
                  <a:close/>
                </a:path>
                <a:path w="2686050" h="467994">
                  <a:moveTo>
                    <a:pt x="804164" y="0"/>
                  </a:moveTo>
                  <a:lnTo>
                    <a:pt x="651002" y="0"/>
                  </a:lnTo>
                  <a:lnTo>
                    <a:pt x="313690" y="467614"/>
                  </a:lnTo>
                  <a:lnTo>
                    <a:pt x="466725" y="467614"/>
                  </a:lnTo>
                  <a:lnTo>
                    <a:pt x="804164" y="0"/>
                  </a:lnTo>
                  <a:close/>
                </a:path>
                <a:path w="2686050" h="467994">
                  <a:moveTo>
                    <a:pt x="1117727" y="0"/>
                  </a:moveTo>
                  <a:lnTo>
                    <a:pt x="964692" y="0"/>
                  </a:lnTo>
                  <a:lnTo>
                    <a:pt x="627253" y="467614"/>
                  </a:lnTo>
                  <a:lnTo>
                    <a:pt x="780288" y="467614"/>
                  </a:lnTo>
                  <a:lnTo>
                    <a:pt x="1117727" y="0"/>
                  </a:lnTo>
                  <a:close/>
                </a:path>
                <a:path w="2686050" h="467994">
                  <a:moveTo>
                    <a:pt x="1431417" y="0"/>
                  </a:moveTo>
                  <a:lnTo>
                    <a:pt x="1278382" y="0"/>
                  </a:lnTo>
                  <a:lnTo>
                    <a:pt x="940943" y="467614"/>
                  </a:lnTo>
                  <a:lnTo>
                    <a:pt x="1093978" y="467614"/>
                  </a:lnTo>
                  <a:lnTo>
                    <a:pt x="1431417" y="0"/>
                  </a:lnTo>
                  <a:close/>
                </a:path>
                <a:path w="2686050" h="467994">
                  <a:moveTo>
                    <a:pt x="1744980" y="0"/>
                  </a:moveTo>
                  <a:lnTo>
                    <a:pt x="1591945" y="0"/>
                  </a:lnTo>
                  <a:lnTo>
                    <a:pt x="1254506" y="467614"/>
                  </a:lnTo>
                  <a:lnTo>
                    <a:pt x="1407541" y="467614"/>
                  </a:lnTo>
                  <a:lnTo>
                    <a:pt x="1744980" y="0"/>
                  </a:lnTo>
                  <a:close/>
                </a:path>
                <a:path w="2686050" h="467994">
                  <a:moveTo>
                    <a:pt x="2058670" y="0"/>
                  </a:moveTo>
                  <a:lnTo>
                    <a:pt x="1905635" y="0"/>
                  </a:lnTo>
                  <a:lnTo>
                    <a:pt x="1568069" y="467614"/>
                  </a:lnTo>
                  <a:lnTo>
                    <a:pt x="1721231" y="467614"/>
                  </a:lnTo>
                  <a:lnTo>
                    <a:pt x="2058670" y="0"/>
                  </a:lnTo>
                  <a:close/>
                </a:path>
                <a:path w="2686050" h="467994">
                  <a:moveTo>
                    <a:pt x="2372233" y="0"/>
                  </a:moveTo>
                  <a:lnTo>
                    <a:pt x="2219198" y="0"/>
                  </a:lnTo>
                  <a:lnTo>
                    <a:pt x="1881619" y="467614"/>
                  </a:lnTo>
                  <a:lnTo>
                    <a:pt x="2034794" y="467614"/>
                  </a:lnTo>
                  <a:lnTo>
                    <a:pt x="2372233" y="0"/>
                  </a:lnTo>
                  <a:close/>
                </a:path>
                <a:path w="2686050" h="467994">
                  <a:moveTo>
                    <a:pt x="2685923" y="225933"/>
                  </a:moveTo>
                  <a:lnTo>
                    <a:pt x="2508885" y="467614"/>
                  </a:lnTo>
                  <a:lnTo>
                    <a:pt x="2685923" y="467614"/>
                  </a:lnTo>
                  <a:lnTo>
                    <a:pt x="2685923" y="225933"/>
                  </a:lnTo>
                  <a:close/>
                </a:path>
                <a:path w="2686050" h="467994">
                  <a:moveTo>
                    <a:pt x="2685923" y="0"/>
                  </a:moveTo>
                  <a:lnTo>
                    <a:pt x="2532761" y="0"/>
                  </a:lnTo>
                  <a:lnTo>
                    <a:pt x="2195322" y="467614"/>
                  </a:lnTo>
                  <a:lnTo>
                    <a:pt x="2348357" y="467614"/>
                  </a:lnTo>
                  <a:lnTo>
                    <a:pt x="268592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10">
            <a:extLst>
              <a:ext uri="{FF2B5EF4-FFF2-40B4-BE49-F238E27FC236}">
                <a16:creationId xmlns:a16="http://schemas.microsoft.com/office/drawing/2014/main" id="{E4A054A1-82CC-C0AD-2E27-CFA10480B594}"/>
              </a:ext>
            </a:extLst>
          </p:cNvPr>
          <p:cNvSpPr txBox="1"/>
          <p:nvPr/>
        </p:nvSpPr>
        <p:spPr>
          <a:xfrm>
            <a:off x="1270654" y="1759204"/>
            <a:ext cx="3176714" cy="583493"/>
          </a:xfrm>
          <a:prstGeom prst="rect">
            <a:avLst/>
          </a:prstGeom>
        </p:spPr>
        <p:txBody>
          <a:bodyPr vert="horz" wrap="square" lIns="0" tIns="90170" rIns="0" bIns="0" rtlCol="0">
            <a:spAutoFit/>
          </a:bodyPr>
          <a:lstStyle/>
          <a:p>
            <a:pPr marL="568960">
              <a:lnSpc>
                <a:spcPct val="100000"/>
              </a:lnSpc>
              <a:spcBef>
                <a:spcPts val="710"/>
              </a:spcBef>
            </a:pPr>
            <a:r>
              <a:rPr sz="3200" b="1" spc="-15" dirty="0">
                <a:solidFill>
                  <a:srgbClr val="FFFFFF"/>
                </a:solidFill>
                <a:latin typeface="Arial"/>
                <a:cs typeface="Arial"/>
              </a:rPr>
              <a:t>ПРОБЛЕМА: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9" name="object 13">
            <a:extLst>
              <a:ext uri="{FF2B5EF4-FFF2-40B4-BE49-F238E27FC236}">
                <a16:creationId xmlns:a16="http://schemas.microsoft.com/office/drawing/2014/main" id="{D7E85572-EC3D-2716-55B1-31C23F2E0FC8}"/>
              </a:ext>
            </a:extLst>
          </p:cNvPr>
          <p:cNvSpPr txBox="1"/>
          <p:nvPr/>
        </p:nvSpPr>
        <p:spPr>
          <a:xfrm>
            <a:off x="6618375" y="9385020"/>
            <a:ext cx="2079889" cy="9483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ru-RU" sz="1800" b="1" spc="-15" dirty="0">
                <a:solidFill>
                  <a:srgbClr val="423B67"/>
                </a:solidFill>
                <a:latin typeface="Arial"/>
                <a:cs typeface="Arial"/>
              </a:rPr>
              <a:t>И</a:t>
            </a:r>
            <a:r>
              <a:rPr sz="1800" b="1" spc="-25" dirty="0" err="1">
                <a:solidFill>
                  <a:srgbClr val="423B67"/>
                </a:solidFill>
                <a:latin typeface="Arial"/>
                <a:cs typeface="Arial"/>
              </a:rPr>
              <a:t>нф</a:t>
            </a:r>
            <a:r>
              <a:rPr sz="1800" b="1" spc="-20" dirty="0" err="1">
                <a:solidFill>
                  <a:srgbClr val="423B67"/>
                </a:solidFill>
                <a:latin typeface="Arial"/>
                <a:cs typeface="Arial"/>
              </a:rPr>
              <a:t>ор</a:t>
            </a:r>
            <a:r>
              <a:rPr sz="1800" b="1" spc="-25" dirty="0" err="1">
                <a:solidFill>
                  <a:srgbClr val="423B67"/>
                </a:solidFill>
                <a:latin typeface="Arial"/>
                <a:cs typeface="Arial"/>
              </a:rPr>
              <a:t>м</a:t>
            </a:r>
            <a:r>
              <a:rPr sz="1800" b="1" spc="-20" dirty="0" err="1">
                <a:solidFill>
                  <a:srgbClr val="423B67"/>
                </a:solidFill>
                <a:latin typeface="Arial"/>
                <a:cs typeface="Arial"/>
              </a:rPr>
              <a:t>а</a:t>
            </a:r>
            <a:r>
              <a:rPr sz="1800" b="1" spc="-15" dirty="0" err="1">
                <a:solidFill>
                  <a:srgbClr val="423B67"/>
                </a:solidFill>
                <a:latin typeface="Arial"/>
                <a:cs typeface="Arial"/>
              </a:rPr>
              <a:t>ци</a:t>
            </a:r>
            <a:r>
              <a:rPr sz="1800" b="1" spc="-20" dirty="0" err="1">
                <a:solidFill>
                  <a:srgbClr val="423B67"/>
                </a:solidFill>
                <a:latin typeface="Arial"/>
                <a:cs typeface="Arial"/>
              </a:rPr>
              <a:t>о</a:t>
            </a:r>
            <a:r>
              <a:rPr sz="1800" b="1" spc="-25" dirty="0" err="1">
                <a:solidFill>
                  <a:srgbClr val="423B67"/>
                </a:solidFill>
                <a:latin typeface="Arial"/>
                <a:cs typeface="Arial"/>
              </a:rPr>
              <a:t>нн</a:t>
            </a:r>
            <a:r>
              <a:rPr sz="1800" b="1" spc="-15" dirty="0" err="1">
                <a:solidFill>
                  <a:srgbClr val="423B67"/>
                </a:solidFill>
                <a:latin typeface="Arial"/>
                <a:cs typeface="Arial"/>
              </a:rPr>
              <a:t>ы</a:t>
            </a:r>
            <a:r>
              <a:rPr sz="1800" b="1" spc="-5" dirty="0" err="1">
                <a:solidFill>
                  <a:srgbClr val="423B67"/>
                </a:solidFill>
                <a:latin typeface="Arial"/>
                <a:cs typeface="Arial"/>
              </a:rPr>
              <a:t>е</a:t>
            </a:r>
            <a:r>
              <a:rPr sz="1800" b="1" spc="-5" dirty="0">
                <a:solidFill>
                  <a:srgbClr val="423B67"/>
                </a:solidFill>
                <a:latin typeface="Arial"/>
                <a:cs typeface="Arial"/>
              </a:rPr>
              <a:t>  </a:t>
            </a:r>
            <a:r>
              <a:rPr sz="1800" b="1" spc="-20" dirty="0" err="1">
                <a:solidFill>
                  <a:srgbClr val="423B67"/>
                </a:solidFill>
                <a:latin typeface="Arial"/>
                <a:cs typeface="Arial"/>
              </a:rPr>
              <a:t>системы</a:t>
            </a:r>
            <a:endParaRPr lang="ru-RU" sz="1800" b="1" spc="-20" dirty="0">
              <a:solidFill>
                <a:srgbClr val="423B67"/>
              </a:solidFill>
              <a:latin typeface="Arial"/>
              <a:cs typeface="Arial"/>
            </a:endParaRPr>
          </a:p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ru-RU" sz="1200" dirty="0">
                <a:solidFill>
                  <a:srgbClr val="423B67"/>
                </a:solidFill>
                <a:latin typeface="Microsoft Sans Serif"/>
                <a:cs typeface="Microsoft Sans Serif"/>
              </a:rPr>
              <a:t>Избыточность и отсутствие интеграции 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5F651CFA-130A-C6E4-FBE0-84EFBDE1AA94}"/>
              </a:ext>
            </a:extLst>
          </p:cNvPr>
          <p:cNvSpPr txBox="1"/>
          <p:nvPr/>
        </p:nvSpPr>
        <p:spPr>
          <a:xfrm>
            <a:off x="9199263" y="9357327"/>
            <a:ext cx="1992085" cy="10406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ru-RU" sz="1800" b="1" spc="-20" dirty="0">
                <a:solidFill>
                  <a:srgbClr val="423B67"/>
                </a:solidFill>
                <a:latin typeface="Arial"/>
                <a:cs typeface="Arial"/>
              </a:rPr>
              <a:t>М</a:t>
            </a:r>
            <a:r>
              <a:rPr sz="1800" b="1" spc="-20" dirty="0" err="1">
                <a:solidFill>
                  <a:srgbClr val="423B67"/>
                </a:solidFill>
                <a:latin typeface="Arial"/>
                <a:cs typeface="Arial"/>
              </a:rPr>
              <a:t>ониторинги</a:t>
            </a:r>
            <a:endParaRPr lang="ru-RU" sz="1800" b="1" spc="-20" dirty="0">
              <a:solidFill>
                <a:srgbClr val="423B67"/>
              </a:solidFill>
              <a:latin typeface="Arial"/>
              <a:cs typeface="Arial"/>
            </a:endParaRPr>
          </a:p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ru-RU" sz="1200" spc="-5" dirty="0">
                <a:solidFill>
                  <a:srgbClr val="423B67"/>
                </a:solidFill>
                <a:latin typeface="Microsoft Sans Serif"/>
                <a:cs typeface="Microsoft Sans Serif"/>
              </a:rPr>
              <a:t>Сбор данных для </a:t>
            </a:r>
            <a:r>
              <a:rPr sz="1200" spc="-105" dirty="0">
                <a:solidFill>
                  <a:srgbClr val="423B67"/>
                </a:solidFill>
                <a:latin typeface="Microsoft Sans Serif"/>
                <a:cs typeface="Microsoft Sans Serif"/>
              </a:rPr>
              <a:t> </a:t>
            </a:r>
            <a:r>
              <a:rPr sz="1200" spc="-20" dirty="0" err="1">
                <a:solidFill>
                  <a:srgbClr val="423B67"/>
                </a:solidFill>
                <a:latin typeface="Microsoft Sans Serif"/>
                <a:cs typeface="Microsoft Sans Serif"/>
              </a:rPr>
              <a:t>м</a:t>
            </a:r>
            <a:r>
              <a:rPr sz="1200" spc="-10" dirty="0" err="1">
                <a:solidFill>
                  <a:srgbClr val="423B67"/>
                </a:solidFill>
                <a:latin typeface="Microsoft Sans Serif"/>
                <a:cs typeface="Microsoft Sans Serif"/>
              </a:rPr>
              <a:t>но</a:t>
            </a:r>
            <a:r>
              <a:rPr sz="1200" spc="-15" dirty="0" err="1">
                <a:solidFill>
                  <a:srgbClr val="423B67"/>
                </a:solidFill>
                <a:latin typeface="Microsoft Sans Serif"/>
                <a:cs typeface="Microsoft Sans Serif"/>
              </a:rPr>
              <a:t>ж</a:t>
            </a:r>
            <a:r>
              <a:rPr sz="1200" spc="-10" dirty="0" err="1">
                <a:solidFill>
                  <a:srgbClr val="423B67"/>
                </a:solidFill>
                <a:latin typeface="Microsoft Sans Serif"/>
                <a:cs typeface="Microsoft Sans Serif"/>
              </a:rPr>
              <a:t>е</a:t>
            </a:r>
            <a:r>
              <a:rPr sz="1200" spc="-15" dirty="0" err="1">
                <a:solidFill>
                  <a:srgbClr val="423B67"/>
                </a:solidFill>
                <a:latin typeface="Microsoft Sans Serif"/>
                <a:cs typeface="Microsoft Sans Serif"/>
              </a:rPr>
              <a:t>ств</a:t>
            </a:r>
            <a:r>
              <a:rPr sz="1200" spc="-10" dirty="0" err="1">
                <a:solidFill>
                  <a:srgbClr val="423B67"/>
                </a:solidFill>
                <a:latin typeface="Microsoft Sans Serif"/>
                <a:cs typeface="Microsoft Sans Serif"/>
              </a:rPr>
              <a:t>а</a:t>
            </a:r>
            <a:r>
              <a:rPr lang="ru-RU" sz="1200" spc="-10" dirty="0">
                <a:solidFill>
                  <a:srgbClr val="423B67"/>
                </a:solidFill>
                <a:latin typeface="Microsoft Sans Serif"/>
                <a:cs typeface="Microsoft Sans Serif"/>
              </a:rPr>
              <a:t> </a:t>
            </a:r>
            <a:r>
              <a:rPr sz="1200" spc="-15" dirty="0" err="1">
                <a:solidFill>
                  <a:srgbClr val="423B67"/>
                </a:solidFill>
                <a:latin typeface="Microsoft Sans Serif"/>
                <a:cs typeface="Microsoft Sans Serif"/>
              </a:rPr>
              <a:t>показателей</a:t>
            </a:r>
            <a:r>
              <a:rPr lang="ru-RU" sz="1200" spc="-15" dirty="0">
                <a:solidFill>
                  <a:srgbClr val="423B67"/>
                </a:solidFill>
                <a:latin typeface="Microsoft Sans Serif"/>
                <a:cs typeface="Microsoft Sans Serif"/>
              </a:rPr>
              <a:t> (более 40 мониторингов, более 10 000 показателей)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</a:p>
        </p:txBody>
      </p:sp>
      <p:sp>
        <p:nvSpPr>
          <p:cNvPr id="12" name="object 16">
            <a:extLst>
              <a:ext uri="{FF2B5EF4-FFF2-40B4-BE49-F238E27FC236}">
                <a16:creationId xmlns:a16="http://schemas.microsoft.com/office/drawing/2014/main" id="{99CEFE3B-01AD-D0E2-B47B-90BDDFE742B8}"/>
              </a:ext>
            </a:extLst>
          </p:cNvPr>
          <p:cNvSpPr/>
          <p:nvPr/>
        </p:nvSpPr>
        <p:spPr>
          <a:xfrm flipV="1">
            <a:off x="1291833" y="2928906"/>
            <a:ext cx="12478595" cy="45719"/>
          </a:xfrm>
          <a:custGeom>
            <a:avLst/>
            <a:gdLst/>
            <a:ahLst/>
            <a:cxnLst/>
            <a:rect l="l" t="t" r="r" b="b"/>
            <a:pathLst>
              <a:path w="9713595" h="11430">
                <a:moveTo>
                  <a:pt x="0" y="11429"/>
                </a:moveTo>
                <a:lnTo>
                  <a:pt x="9713341" y="0"/>
                </a:lnTo>
              </a:path>
            </a:pathLst>
          </a:custGeom>
          <a:ln w="57149">
            <a:solidFill>
              <a:srgbClr val="8888D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16BDCE8A-87A3-5B2C-3DDE-05F91577EE7E}"/>
              </a:ext>
            </a:extLst>
          </p:cNvPr>
          <p:cNvSpPr txBox="1"/>
          <p:nvPr/>
        </p:nvSpPr>
        <p:spPr>
          <a:xfrm>
            <a:off x="4912725" y="1882005"/>
            <a:ext cx="9306208" cy="44435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800" b="1" spc="-5" dirty="0">
                <a:solidFill>
                  <a:srgbClr val="8888D0"/>
                </a:solidFill>
                <a:latin typeface="Arial"/>
                <a:cs typeface="Arial"/>
              </a:rPr>
              <a:t>ВЫСОКАЯ</a:t>
            </a:r>
            <a:r>
              <a:rPr sz="2800" b="1" spc="-100" dirty="0">
                <a:solidFill>
                  <a:srgbClr val="8888D0"/>
                </a:solidFill>
                <a:latin typeface="Arial"/>
                <a:cs typeface="Arial"/>
              </a:rPr>
              <a:t> </a:t>
            </a:r>
            <a:r>
              <a:rPr sz="2800" b="1" spc="-35" dirty="0">
                <a:solidFill>
                  <a:srgbClr val="8888D0"/>
                </a:solidFill>
                <a:latin typeface="Arial"/>
                <a:cs typeface="Arial"/>
              </a:rPr>
              <a:t>БЮРОКРАТИЧЕСКАЯ</a:t>
            </a:r>
            <a:r>
              <a:rPr sz="2800" b="1" spc="-75" dirty="0">
                <a:solidFill>
                  <a:srgbClr val="8888D0"/>
                </a:solidFill>
                <a:latin typeface="Arial"/>
                <a:cs typeface="Arial"/>
              </a:rPr>
              <a:t> </a:t>
            </a:r>
            <a:r>
              <a:rPr sz="2800" b="1" spc="-10" dirty="0">
                <a:solidFill>
                  <a:srgbClr val="8888D0"/>
                </a:solidFill>
                <a:latin typeface="Arial"/>
                <a:cs typeface="Arial"/>
              </a:rPr>
              <a:t>НАГРУЗКА</a:t>
            </a:r>
            <a:endParaRPr sz="2800" dirty="0">
              <a:latin typeface="Arial"/>
              <a:cs typeface="Arial"/>
            </a:endParaRPr>
          </a:p>
        </p:txBody>
      </p:sp>
      <p:grpSp>
        <p:nvGrpSpPr>
          <p:cNvPr id="15" name="object 26">
            <a:extLst>
              <a:ext uri="{FF2B5EF4-FFF2-40B4-BE49-F238E27FC236}">
                <a16:creationId xmlns:a16="http://schemas.microsoft.com/office/drawing/2014/main" id="{8E5462D9-A2B1-6F53-4FEF-45DC461A6F2D}"/>
              </a:ext>
            </a:extLst>
          </p:cNvPr>
          <p:cNvGrpSpPr/>
          <p:nvPr/>
        </p:nvGrpSpPr>
        <p:grpSpPr>
          <a:xfrm>
            <a:off x="1270654" y="3269180"/>
            <a:ext cx="2862563" cy="2475501"/>
            <a:chOff x="1903857" y="2590418"/>
            <a:chExt cx="1296035" cy="1384824"/>
          </a:xfrm>
        </p:grpSpPr>
        <p:sp>
          <p:nvSpPr>
            <p:cNvPr id="16" name="object 27">
              <a:extLst>
                <a:ext uri="{FF2B5EF4-FFF2-40B4-BE49-F238E27FC236}">
                  <a16:creationId xmlns:a16="http://schemas.microsoft.com/office/drawing/2014/main" id="{5AC317EB-0EC3-8702-1677-C5F469E8DF43}"/>
                </a:ext>
              </a:extLst>
            </p:cNvPr>
            <p:cNvSpPr/>
            <p:nvPr/>
          </p:nvSpPr>
          <p:spPr>
            <a:xfrm>
              <a:off x="1903857" y="2590418"/>
              <a:ext cx="1296035" cy="1384824"/>
            </a:xfrm>
            <a:custGeom>
              <a:avLst/>
              <a:gdLst/>
              <a:ahLst/>
              <a:cxnLst/>
              <a:rect l="l" t="t" r="r" b="b"/>
              <a:pathLst>
                <a:path w="1296035" h="1296035">
                  <a:moveTo>
                    <a:pt x="1296034" y="0"/>
                  </a:moveTo>
                  <a:lnTo>
                    <a:pt x="0" y="0"/>
                  </a:lnTo>
                  <a:lnTo>
                    <a:pt x="0" y="1295780"/>
                  </a:lnTo>
                  <a:lnTo>
                    <a:pt x="1296034" y="1295780"/>
                  </a:lnTo>
                  <a:lnTo>
                    <a:pt x="1296034" y="0"/>
                  </a:lnTo>
                  <a:close/>
                </a:path>
              </a:pathLst>
            </a:custGeom>
            <a:solidFill>
              <a:srgbClr val="CDCD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28">
              <a:extLst>
                <a:ext uri="{FF2B5EF4-FFF2-40B4-BE49-F238E27FC236}">
                  <a16:creationId xmlns:a16="http://schemas.microsoft.com/office/drawing/2014/main" id="{E0373CA8-D01C-77E0-A02D-96E9BF428083}"/>
                </a:ext>
              </a:extLst>
            </p:cNvPr>
            <p:cNvSpPr/>
            <p:nvPr/>
          </p:nvSpPr>
          <p:spPr>
            <a:xfrm>
              <a:off x="2261616" y="3283966"/>
              <a:ext cx="580390" cy="291465"/>
            </a:xfrm>
            <a:custGeom>
              <a:avLst/>
              <a:gdLst/>
              <a:ahLst/>
              <a:cxnLst/>
              <a:rect l="l" t="t" r="r" b="b"/>
              <a:pathLst>
                <a:path w="580389" h="291464">
                  <a:moveTo>
                    <a:pt x="224535" y="0"/>
                  </a:moveTo>
                  <a:lnTo>
                    <a:pt x="202564" y="49149"/>
                  </a:lnTo>
                  <a:lnTo>
                    <a:pt x="165607" y="76835"/>
                  </a:lnTo>
                  <a:lnTo>
                    <a:pt x="144398" y="80518"/>
                  </a:lnTo>
                  <a:lnTo>
                    <a:pt x="117856" y="77597"/>
                  </a:lnTo>
                  <a:lnTo>
                    <a:pt x="85343" y="73406"/>
                  </a:lnTo>
                  <a:lnTo>
                    <a:pt x="52704" y="74295"/>
                  </a:lnTo>
                  <a:lnTo>
                    <a:pt x="10540" y="130810"/>
                  </a:lnTo>
                  <a:lnTo>
                    <a:pt x="2793" y="199644"/>
                  </a:lnTo>
                  <a:lnTo>
                    <a:pt x="253" y="263144"/>
                  </a:lnTo>
                  <a:lnTo>
                    <a:pt x="0" y="291084"/>
                  </a:lnTo>
                  <a:lnTo>
                    <a:pt x="580263" y="291084"/>
                  </a:lnTo>
                  <a:lnTo>
                    <a:pt x="577722" y="199644"/>
                  </a:lnTo>
                  <a:lnTo>
                    <a:pt x="570102" y="130810"/>
                  </a:lnTo>
                  <a:lnTo>
                    <a:pt x="554227" y="87249"/>
                  </a:lnTo>
                  <a:lnTo>
                    <a:pt x="495426" y="73406"/>
                  </a:lnTo>
                  <a:lnTo>
                    <a:pt x="462660" y="77597"/>
                  </a:lnTo>
                  <a:lnTo>
                    <a:pt x="435990" y="80518"/>
                  </a:lnTo>
                  <a:lnTo>
                    <a:pt x="395223" y="66294"/>
                  </a:lnTo>
                  <a:lnTo>
                    <a:pt x="364744" y="26035"/>
                  </a:lnTo>
                  <a:lnTo>
                    <a:pt x="357250" y="5587"/>
                  </a:lnTo>
                  <a:lnTo>
                    <a:pt x="319785" y="33655"/>
                  </a:lnTo>
                  <a:lnTo>
                    <a:pt x="290829" y="42037"/>
                  </a:lnTo>
                  <a:lnTo>
                    <a:pt x="261746" y="30734"/>
                  </a:lnTo>
                  <a:lnTo>
                    <a:pt x="224535" y="0"/>
                  </a:lnTo>
                  <a:close/>
                </a:path>
              </a:pathLst>
            </a:custGeom>
            <a:solidFill>
              <a:srgbClr val="5450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AF5B0613-1A33-1A14-6E34-BC8CBAF4D3B8}"/>
                </a:ext>
              </a:extLst>
            </p:cNvPr>
            <p:cNvSpPr/>
            <p:nvPr/>
          </p:nvSpPr>
          <p:spPr>
            <a:xfrm>
              <a:off x="2417191" y="2974213"/>
              <a:ext cx="276860" cy="356870"/>
            </a:xfrm>
            <a:custGeom>
              <a:avLst/>
              <a:gdLst/>
              <a:ahLst/>
              <a:cxnLst/>
              <a:rect l="l" t="t" r="r" b="b"/>
              <a:pathLst>
                <a:path w="276860" h="356870">
                  <a:moveTo>
                    <a:pt x="137921" y="0"/>
                  </a:moveTo>
                  <a:lnTo>
                    <a:pt x="94360" y="8254"/>
                  </a:lnTo>
                  <a:lnTo>
                    <a:pt x="56514" y="31623"/>
                  </a:lnTo>
                  <a:lnTo>
                    <a:pt x="26669" y="67056"/>
                  </a:lnTo>
                  <a:lnTo>
                    <a:pt x="6984" y="112140"/>
                  </a:lnTo>
                  <a:lnTo>
                    <a:pt x="0" y="163957"/>
                  </a:lnTo>
                  <a:lnTo>
                    <a:pt x="9270" y="218694"/>
                  </a:lnTo>
                  <a:lnTo>
                    <a:pt x="33400" y="270763"/>
                  </a:lnTo>
                  <a:lnTo>
                    <a:pt x="66675" y="314706"/>
                  </a:lnTo>
                  <a:lnTo>
                    <a:pt x="103377" y="345059"/>
                  </a:lnTo>
                  <a:lnTo>
                    <a:pt x="137921" y="356362"/>
                  </a:lnTo>
                  <a:lnTo>
                    <a:pt x="172719" y="345059"/>
                  </a:lnTo>
                  <a:lnTo>
                    <a:pt x="209550" y="314706"/>
                  </a:lnTo>
                  <a:lnTo>
                    <a:pt x="242823" y="270763"/>
                  </a:lnTo>
                  <a:lnTo>
                    <a:pt x="266953" y="218694"/>
                  </a:lnTo>
                  <a:lnTo>
                    <a:pt x="276351" y="163957"/>
                  </a:lnTo>
                  <a:lnTo>
                    <a:pt x="269239" y="112140"/>
                  </a:lnTo>
                  <a:lnTo>
                    <a:pt x="249681" y="67056"/>
                  </a:lnTo>
                  <a:lnTo>
                    <a:pt x="219709" y="31623"/>
                  </a:lnTo>
                  <a:lnTo>
                    <a:pt x="181736" y="8254"/>
                  </a:lnTo>
                  <a:lnTo>
                    <a:pt x="137921" y="0"/>
                  </a:lnTo>
                  <a:close/>
                </a:path>
              </a:pathLst>
            </a:custGeom>
            <a:solidFill>
              <a:srgbClr val="FCFCF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30">
              <a:extLst>
                <a:ext uri="{FF2B5EF4-FFF2-40B4-BE49-F238E27FC236}">
                  <a16:creationId xmlns:a16="http://schemas.microsoft.com/office/drawing/2014/main" id="{E93E96F8-94F1-A0EE-3B39-4696B57AB179}"/>
                </a:ext>
              </a:extLst>
            </p:cNvPr>
            <p:cNvSpPr/>
            <p:nvPr/>
          </p:nvSpPr>
          <p:spPr>
            <a:xfrm>
              <a:off x="2369820" y="2901569"/>
              <a:ext cx="364490" cy="367030"/>
            </a:xfrm>
            <a:custGeom>
              <a:avLst/>
              <a:gdLst/>
              <a:ahLst/>
              <a:cxnLst/>
              <a:rect l="l" t="t" r="r" b="b"/>
              <a:pathLst>
                <a:path w="364489" h="367029">
                  <a:moveTo>
                    <a:pt x="231267" y="0"/>
                  </a:moveTo>
                  <a:lnTo>
                    <a:pt x="196342" y="3301"/>
                  </a:lnTo>
                  <a:lnTo>
                    <a:pt x="165607" y="17398"/>
                  </a:lnTo>
                  <a:lnTo>
                    <a:pt x="132842" y="3936"/>
                  </a:lnTo>
                  <a:lnTo>
                    <a:pt x="58419" y="22351"/>
                  </a:lnTo>
                  <a:lnTo>
                    <a:pt x="26797" y="52196"/>
                  </a:lnTo>
                  <a:lnTo>
                    <a:pt x="5715" y="94233"/>
                  </a:lnTo>
                  <a:lnTo>
                    <a:pt x="0" y="147573"/>
                  </a:lnTo>
                  <a:lnTo>
                    <a:pt x="5461" y="197103"/>
                  </a:lnTo>
                  <a:lnTo>
                    <a:pt x="12192" y="254000"/>
                  </a:lnTo>
                  <a:lnTo>
                    <a:pt x="14350" y="309371"/>
                  </a:lnTo>
                  <a:lnTo>
                    <a:pt x="5968" y="354838"/>
                  </a:lnTo>
                  <a:lnTo>
                    <a:pt x="28575" y="357250"/>
                  </a:lnTo>
                  <a:lnTo>
                    <a:pt x="73025" y="362711"/>
                  </a:lnTo>
                  <a:lnTo>
                    <a:pt x="95757" y="365251"/>
                  </a:lnTo>
                  <a:lnTo>
                    <a:pt x="85217" y="350392"/>
                  </a:lnTo>
                  <a:lnTo>
                    <a:pt x="75818" y="332993"/>
                  </a:lnTo>
                  <a:lnTo>
                    <a:pt x="68199" y="310514"/>
                  </a:lnTo>
                  <a:lnTo>
                    <a:pt x="62611" y="280542"/>
                  </a:lnTo>
                  <a:lnTo>
                    <a:pt x="66293" y="225043"/>
                  </a:lnTo>
                  <a:lnTo>
                    <a:pt x="84200" y="186689"/>
                  </a:lnTo>
                  <a:lnTo>
                    <a:pt x="112013" y="158876"/>
                  </a:lnTo>
                  <a:lnTo>
                    <a:pt x="145669" y="135127"/>
                  </a:lnTo>
                  <a:lnTo>
                    <a:pt x="180848" y="108711"/>
                  </a:lnTo>
                  <a:lnTo>
                    <a:pt x="205231" y="141477"/>
                  </a:lnTo>
                  <a:lnTo>
                    <a:pt x="274447" y="207771"/>
                  </a:lnTo>
                  <a:lnTo>
                    <a:pt x="300228" y="242823"/>
                  </a:lnTo>
                  <a:lnTo>
                    <a:pt x="307594" y="280161"/>
                  </a:lnTo>
                  <a:lnTo>
                    <a:pt x="307340" y="280542"/>
                  </a:lnTo>
                  <a:lnTo>
                    <a:pt x="306197" y="289559"/>
                  </a:lnTo>
                  <a:lnTo>
                    <a:pt x="301498" y="306958"/>
                  </a:lnTo>
                  <a:lnTo>
                    <a:pt x="293497" y="328929"/>
                  </a:lnTo>
                  <a:lnTo>
                    <a:pt x="283972" y="350519"/>
                  </a:lnTo>
                  <a:lnTo>
                    <a:pt x="274447" y="366648"/>
                  </a:lnTo>
                  <a:lnTo>
                    <a:pt x="297180" y="363981"/>
                  </a:lnTo>
                  <a:lnTo>
                    <a:pt x="341375" y="357504"/>
                  </a:lnTo>
                  <a:lnTo>
                    <a:pt x="363981" y="354838"/>
                  </a:lnTo>
                  <a:lnTo>
                    <a:pt x="358013" y="326263"/>
                  </a:lnTo>
                  <a:lnTo>
                    <a:pt x="356743" y="287781"/>
                  </a:lnTo>
                  <a:lnTo>
                    <a:pt x="358648" y="244728"/>
                  </a:lnTo>
                  <a:lnTo>
                    <a:pt x="362077" y="202310"/>
                  </a:lnTo>
                  <a:lnTo>
                    <a:pt x="364236" y="142366"/>
                  </a:lnTo>
                  <a:lnTo>
                    <a:pt x="352806" y="92836"/>
                  </a:lnTo>
                  <a:lnTo>
                    <a:pt x="330962" y="53847"/>
                  </a:lnTo>
                  <a:lnTo>
                    <a:pt x="301498" y="25272"/>
                  </a:lnTo>
                  <a:lnTo>
                    <a:pt x="267207" y="7365"/>
                  </a:lnTo>
                  <a:lnTo>
                    <a:pt x="231267" y="0"/>
                  </a:lnTo>
                  <a:close/>
                </a:path>
              </a:pathLst>
            </a:custGeom>
            <a:solidFill>
              <a:srgbClr val="5450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" name="object 31">
            <a:extLst>
              <a:ext uri="{FF2B5EF4-FFF2-40B4-BE49-F238E27FC236}">
                <a16:creationId xmlns:a16="http://schemas.microsoft.com/office/drawing/2014/main" id="{07BBDE3A-B6F1-E849-BEDB-546AD6A0AD96}"/>
              </a:ext>
            </a:extLst>
          </p:cNvPr>
          <p:cNvGrpSpPr/>
          <p:nvPr/>
        </p:nvGrpSpPr>
        <p:grpSpPr>
          <a:xfrm>
            <a:off x="7010302" y="7944786"/>
            <a:ext cx="1296035" cy="1192631"/>
            <a:chOff x="6875271" y="2590419"/>
            <a:chExt cx="1296035" cy="1296035"/>
          </a:xfrm>
        </p:grpSpPr>
        <p:sp>
          <p:nvSpPr>
            <p:cNvPr id="21" name="object 32">
              <a:extLst>
                <a:ext uri="{FF2B5EF4-FFF2-40B4-BE49-F238E27FC236}">
                  <a16:creationId xmlns:a16="http://schemas.microsoft.com/office/drawing/2014/main" id="{091AACAE-3D44-07F6-F573-420E4564A000}"/>
                </a:ext>
              </a:extLst>
            </p:cNvPr>
            <p:cNvSpPr/>
            <p:nvPr/>
          </p:nvSpPr>
          <p:spPr>
            <a:xfrm>
              <a:off x="6875271" y="2590419"/>
              <a:ext cx="1296035" cy="1296035"/>
            </a:xfrm>
            <a:custGeom>
              <a:avLst/>
              <a:gdLst/>
              <a:ahLst/>
              <a:cxnLst/>
              <a:rect l="l" t="t" r="r" b="b"/>
              <a:pathLst>
                <a:path w="1296034" h="1296035">
                  <a:moveTo>
                    <a:pt x="1296034" y="0"/>
                  </a:moveTo>
                  <a:lnTo>
                    <a:pt x="0" y="0"/>
                  </a:lnTo>
                  <a:lnTo>
                    <a:pt x="0" y="1295780"/>
                  </a:lnTo>
                  <a:lnTo>
                    <a:pt x="1296034" y="1295780"/>
                  </a:lnTo>
                  <a:lnTo>
                    <a:pt x="1296034" y="0"/>
                  </a:lnTo>
                  <a:close/>
                </a:path>
              </a:pathLst>
            </a:custGeom>
            <a:solidFill>
              <a:srgbClr val="CDCDE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33">
              <a:extLst>
                <a:ext uri="{FF2B5EF4-FFF2-40B4-BE49-F238E27FC236}">
                  <a16:creationId xmlns:a16="http://schemas.microsoft.com/office/drawing/2014/main" id="{926916BD-4E4B-B6ED-E114-86FED9FB1799}"/>
                </a:ext>
              </a:extLst>
            </p:cNvPr>
            <p:cNvSpPr/>
            <p:nvPr/>
          </p:nvSpPr>
          <p:spPr>
            <a:xfrm>
              <a:off x="7081647" y="2926029"/>
              <a:ext cx="883285" cy="624840"/>
            </a:xfrm>
            <a:custGeom>
              <a:avLst/>
              <a:gdLst/>
              <a:ahLst/>
              <a:cxnLst/>
              <a:rect l="l" t="t" r="r" b="b"/>
              <a:pathLst>
                <a:path w="883284" h="624839">
                  <a:moveTo>
                    <a:pt x="778738" y="0"/>
                  </a:moveTo>
                  <a:lnTo>
                    <a:pt x="104521" y="0"/>
                  </a:lnTo>
                  <a:lnTo>
                    <a:pt x="104521" y="448741"/>
                  </a:lnTo>
                  <a:lnTo>
                    <a:pt x="778738" y="448741"/>
                  </a:lnTo>
                  <a:lnTo>
                    <a:pt x="778738" y="0"/>
                  </a:lnTo>
                  <a:close/>
                </a:path>
                <a:path w="883284" h="624839">
                  <a:moveTo>
                    <a:pt x="883196" y="560755"/>
                  </a:moveTo>
                  <a:lnTo>
                    <a:pt x="0" y="560755"/>
                  </a:lnTo>
                  <a:lnTo>
                    <a:pt x="0" y="624763"/>
                  </a:lnTo>
                  <a:lnTo>
                    <a:pt x="883196" y="624763"/>
                  </a:lnTo>
                  <a:lnTo>
                    <a:pt x="883196" y="560755"/>
                  </a:lnTo>
                  <a:close/>
                </a:path>
              </a:pathLst>
            </a:custGeom>
            <a:solidFill>
              <a:srgbClr val="5450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34">
              <a:extLst>
                <a:ext uri="{FF2B5EF4-FFF2-40B4-BE49-F238E27FC236}">
                  <a16:creationId xmlns:a16="http://schemas.microsoft.com/office/drawing/2014/main" id="{995082D0-83EF-D891-5454-E24076EC240D}"/>
                </a:ext>
              </a:extLst>
            </p:cNvPr>
            <p:cNvSpPr/>
            <p:nvPr/>
          </p:nvSpPr>
          <p:spPr>
            <a:xfrm>
              <a:off x="7081646" y="3374770"/>
              <a:ext cx="883285" cy="112395"/>
            </a:xfrm>
            <a:custGeom>
              <a:avLst/>
              <a:gdLst/>
              <a:ahLst/>
              <a:cxnLst/>
              <a:rect l="l" t="t" r="r" b="b"/>
              <a:pathLst>
                <a:path w="883284" h="112395">
                  <a:moveTo>
                    <a:pt x="778763" y="0"/>
                  </a:moveTo>
                  <a:lnTo>
                    <a:pt x="104521" y="0"/>
                  </a:lnTo>
                  <a:lnTo>
                    <a:pt x="0" y="112013"/>
                  </a:lnTo>
                  <a:lnTo>
                    <a:pt x="883284" y="112013"/>
                  </a:lnTo>
                  <a:lnTo>
                    <a:pt x="778763" y="0"/>
                  </a:lnTo>
                  <a:close/>
                </a:path>
              </a:pathLst>
            </a:custGeom>
            <a:solidFill>
              <a:srgbClr val="8888D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35">
              <a:extLst>
                <a:ext uri="{FF2B5EF4-FFF2-40B4-BE49-F238E27FC236}">
                  <a16:creationId xmlns:a16="http://schemas.microsoft.com/office/drawing/2014/main" id="{FA6639C1-2079-D5A6-24AD-49B3E22E135F}"/>
                </a:ext>
              </a:extLst>
            </p:cNvPr>
            <p:cNvSpPr/>
            <p:nvPr/>
          </p:nvSpPr>
          <p:spPr>
            <a:xfrm>
              <a:off x="7458836" y="3429127"/>
              <a:ext cx="128905" cy="34290"/>
            </a:xfrm>
            <a:custGeom>
              <a:avLst/>
              <a:gdLst/>
              <a:ahLst/>
              <a:cxnLst/>
              <a:rect l="l" t="t" r="r" b="b"/>
              <a:pathLst>
                <a:path w="128904" h="34289">
                  <a:moveTo>
                    <a:pt x="118491" y="0"/>
                  </a:moveTo>
                  <a:lnTo>
                    <a:pt x="10414" y="0"/>
                  </a:lnTo>
                  <a:lnTo>
                    <a:pt x="0" y="33782"/>
                  </a:lnTo>
                  <a:lnTo>
                    <a:pt x="128778" y="33782"/>
                  </a:lnTo>
                  <a:lnTo>
                    <a:pt x="118491" y="0"/>
                  </a:lnTo>
                  <a:close/>
                </a:path>
              </a:pathLst>
            </a:custGeom>
            <a:solidFill>
              <a:srgbClr val="5450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6">
              <a:extLst>
                <a:ext uri="{FF2B5EF4-FFF2-40B4-BE49-F238E27FC236}">
                  <a16:creationId xmlns:a16="http://schemas.microsoft.com/office/drawing/2014/main" id="{9418F798-EDA0-46D8-2E06-89FB4A12783D}"/>
                </a:ext>
              </a:extLst>
            </p:cNvPr>
            <p:cNvSpPr/>
            <p:nvPr/>
          </p:nvSpPr>
          <p:spPr>
            <a:xfrm>
              <a:off x="7238618" y="2980664"/>
              <a:ext cx="569595" cy="339725"/>
            </a:xfrm>
            <a:custGeom>
              <a:avLst/>
              <a:gdLst/>
              <a:ahLst/>
              <a:cxnLst/>
              <a:rect l="l" t="t" r="r" b="b"/>
              <a:pathLst>
                <a:path w="569595" h="339725">
                  <a:moveTo>
                    <a:pt x="569379" y="0"/>
                  </a:moveTo>
                  <a:lnTo>
                    <a:pt x="0" y="0"/>
                  </a:lnTo>
                  <a:lnTo>
                    <a:pt x="0" y="339369"/>
                  </a:lnTo>
                  <a:lnTo>
                    <a:pt x="569379" y="339369"/>
                  </a:lnTo>
                  <a:lnTo>
                    <a:pt x="569379" y="0"/>
                  </a:lnTo>
                  <a:close/>
                </a:path>
              </a:pathLst>
            </a:custGeom>
            <a:solidFill>
              <a:srgbClr val="FCFCF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37">
              <a:extLst>
                <a:ext uri="{FF2B5EF4-FFF2-40B4-BE49-F238E27FC236}">
                  <a16:creationId xmlns:a16="http://schemas.microsoft.com/office/drawing/2014/main" id="{FED5F3CC-D608-A2BD-BD27-1D9590E8BC7C}"/>
                </a:ext>
              </a:extLst>
            </p:cNvPr>
            <p:cNvSpPr/>
            <p:nvPr/>
          </p:nvSpPr>
          <p:spPr>
            <a:xfrm>
              <a:off x="7586980" y="3005467"/>
              <a:ext cx="81915" cy="133985"/>
            </a:xfrm>
            <a:custGeom>
              <a:avLst/>
              <a:gdLst/>
              <a:ahLst/>
              <a:cxnLst/>
              <a:rect l="l" t="t" r="r" b="b"/>
              <a:pathLst>
                <a:path w="81915" h="133985">
                  <a:moveTo>
                    <a:pt x="29756" y="104254"/>
                  </a:moveTo>
                  <a:lnTo>
                    <a:pt x="0" y="104254"/>
                  </a:lnTo>
                  <a:lnTo>
                    <a:pt x="0" y="133845"/>
                  </a:lnTo>
                  <a:lnTo>
                    <a:pt x="29756" y="133845"/>
                  </a:lnTo>
                  <a:lnTo>
                    <a:pt x="29756" y="104254"/>
                  </a:lnTo>
                  <a:close/>
                </a:path>
                <a:path w="81915" h="133985">
                  <a:moveTo>
                    <a:pt x="29756" y="0"/>
                  </a:moveTo>
                  <a:lnTo>
                    <a:pt x="0" y="0"/>
                  </a:lnTo>
                  <a:lnTo>
                    <a:pt x="0" y="29578"/>
                  </a:lnTo>
                  <a:lnTo>
                    <a:pt x="29756" y="29578"/>
                  </a:lnTo>
                  <a:lnTo>
                    <a:pt x="29756" y="0"/>
                  </a:lnTo>
                  <a:close/>
                </a:path>
                <a:path w="81915" h="133985">
                  <a:moveTo>
                    <a:pt x="81889" y="0"/>
                  </a:moveTo>
                  <a:lnTo>
                    <a:pt x="52451" y="0"/>
                  </a:lnTo>
                  <a:lnTo>
                    <a:pt x="52451" y="29578"/>
                  </a:lnTo>
                  <a:lnTo>
                    <a:pt x="81889" y="29578"/>
                  </a:lnTo>
                  <a:lnTo>
                    <a:pt x="81889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38">
              <a:extLst>
                <a:ext uri="{FF2B5EF4-FFF2-40B4-BE49-F238E27FC236}">
                  <a16:creationId xmlns:a16="http://schemas.microsoft.com/office/drawing/2014/main" id="{6ACCA679-1DD0-6D4E-B9CE-10C8B248BB8C}"/>
                </a:ext>
              </a:extLst>
            </p:cNvPr>
            <p:cNvSpPr/>
            <p:nvPr/>
          </p:nvSpPr>
          <p:spPr>
            <a:xfrm>
              <a:off x="7586979" y="3265674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5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39">
              <a:extLst>
                <a:ext uri="{FF2B5EF4-FFF2-40B4-BE49-F238E27FC236}">
                  <a16:creationId xmlns:a16="http://schemas.microsoft.com/office/drawing/2014/main" id="{58D91046-07B4-3550-BF45-F4CCAB249768}"/>
                </a:ext>
              </a:extLst>
            </p:cNvPr>
            <p:cNvSpPr/>
            <p:nvPr/>
          </p:nvSpPr>
          <p:spPr>
            <a:xfrm>
              <a:off x="7534656" y="3005467"/>
              <a:ext cx="134620" cy="290195"/>
            </a:xfrm>
            <a:custGeom>
              <a:avLst/>
              <a:gdLst/>
              <a:ahLst/>
              <a:cxnLst/>
              <a:rect l="l" t="t" r="r" b="b"/>
              <a:pathLst>
                <a:path w="134620" h="290195">
                  <a:moveTo>
                    <a:pt x="29743" y="0"/>
                  </a:moveTo>
                  <a:lnTo>
                    <a:pt x="0" y="0"/>
                  </a:lnTo>
                  <a:lnTo>
                    <a:pt x="0" y="29578"/>
                  </a:lnTo>
                  <a:lnTo>
                    <a:pt x="29743" y="29578"/>
                  </a:lnTo>
                  <a:lnTo>
                    <a:pt x="29743" y="0"/>
                  </a:lnTo>
                  <a:close/>
                </a:path>
                <a:path w="134620" h="290195">
                  <a:moveTo>
                    <a:pt x="134200" y="260223"/>
                  </a:moveTo>
                  <a:lnTo>
                    <a:pt x="104775" y="260223"/>
                  </a:lnTo>
                  <a:lnTo>
                    <a:pt x="104775" y="289801"/>
                  </a:lnTo>
                  <a:lnTo>
                    <a:pt x="134200" y="289801"/>
                  </a:lnTo>
                  <a:lnTo>
                    <a:pt x="134200" y="260223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40">
              <a:extLst>
                <a:ext uri="{FF2B5EF4-FFF2-40B4-BE49-F238E27FC236}">
                  <a16:creationId xmlns:a16="http://schemas.microsoft.com/office/drawing/2014/main" id="{0AF110BF-96AB-053A-87EC-7B14034D6C32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82661" y="3059607"/>
              <a:ext cx="134200" cy="187020"/>
            </a:xfrm>
            <a:prstGeom prst="rect">
              <a:avLst/>
            </a:prstGeom>
          </p:spPr>
        </p:pic>
        <p:sp>
          <p:nvSpPr>
            <p:cNvPr id="30" name="object 41">
              <a:extLst>
                <a:ext uri="{FF2B5EF4-FFF2-40B4-BE49-F238E27FC236}">
                  <a16:creationId xmlns:a16="http://schemas.microsoft.com/office/drawing/2014/main" id="{794E1861-15E8-7DAD-3AEE-AAB0A13FE117}"/>
                </a:ext>
              </a:extLst>
            </p:cNvPr>
            <p:cNvSpPr/>
            <p:nvPr/>
          </p:nvSpPr>
          <p:spPr>
            <a:xfrm>
              <a:off x="7534655" y="3057648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7070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42">
              <a:extLst>
                <a:ext uri="{FF2B5EF4-FFF2-40B4-BE49-F238E27FC236}">
                  <a16:creationId xmlns:a16="http://schemas.microsoft.com/office/drawing/2014/main" id="{88849406-D923-2568-BB07-9E9A3967E5A2}"/>
                </a:ext>
              </a:extLst>
            </p:cNvPr>
            <p:cNvSpPr/>
            <p:nvPr/>
          </p:nvSpPr>
          <p:spPr>
            <a:xfrm>
              <a:off x="7482204" y="3057648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43">
              <a:extLst>
                <a:ext uri="{FF2B5EF4-FFF2-40B4-BE49-F238E27FC236}">
                  <a16:creationId xmlns:a16="http://schemas.microsoft.com/office/drawing/2014/main" id="{3E724D7D-8E2A-C1DC-1665-44D75F1A746F}"/>
                </a:ext>
              </a:extLst>
            </p:cNvPr>
            <p:cNvSpPr/>
            <p:nvPr/>
          </p:nvSpPr>
          <p:spPr>
            <a:xfrm>
              <a:off x="7534655" y="3109718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44">
              <a:extLst>
                <a:ext uri="{FF2B5EF4-FFF2-40B4-BE49-F238E27FC236}">
                  <a16:creationId xmlns:a16="http://schemas.microsoft.com/office/drawing/2014/main" id="{6AC01CD6-2117-F13E-EFBF-F49DCD736374}"/>
                </a:ext>
              </a:extLst>
            </p:cNvPr>
            <p:cNvSpPr/>
            <p:nvPr/>
          </p:nvSpPr>
          <p:spPr>
            <a:xfrm>
              <a:off x="7534655" y="3161856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272"/>
                  </a:lnTo>
                  <a:lnTo>
                    <a:pt x="29763" y="29272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45">
              <a:extLst>
                <a:ext uri="{FF2B5EF4-FFF2-40B4-BE49-F238E27FC236}">
                  <a16:creationId xmlns:a16="http://schemas.microsoft.com/office/drawing/2014/main" id="{F8B2AEE6-C94F-B3DA-2E9B-16BFC3B745E4}"/>
                </a:ext>
              </a:extLst>
            </p:cNvPr>
            <p:cNvSpPr/>
            <p:nvPr/>
          </p:nvSpPr>
          <p:spPr>
            <a:xfrm>
              <a:off x="7534655" y="3213604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46">
              <a:extLst>
                <a:ext uri="{FF2B5EF4-FFF2-40B4-BE49-F238E27FC236}">
                  <a16:creationId xmlns:a16="http://schemas.microsoft.com/office/drawing/2014/main" id="{B3E04B25-9B41-50CA-EEB0-025A4D49EA0D}"/>
                </a:ext>
              </a:extLst>
            </p:cNvPr>
            <p:cNvSpPr/>
            <p:nvPr/>
          </p:nvSpPr>
          <p:spPr>
            <a:xfrm>
              <a:off x="7272909" y="3005467"/>
              <a:ext cx="292100" cy="290195"/>
            </a:xfrm>
            <a:custGeom>
              <a:avLst/>
              <a:gdLst/>
              <a:ahLst/>
              <a:cxnLst/>
              <a:rect l="l" t="t" r="r" b="b"/>
              <a:pathLst>
                <a:path w="292100" h="290195">
                  <a:moveTo>
                    <a:pt x="239077" y="0"/>
                  </a:moveTo>
                  <a:lnTo>
                    <a:pt x="0" y="0"/>
                  </a:lnTo>
                  <a:lnTo>
                    <a:pt x="0" y="29578"/>
                  </a:lnTo>
                  <a:lnTo>
                    <a:pt x="239077" y="29578"/>
                  </a:lnTo>
                  <a:lnTo>
                    <a:pt x="239077" y="0"/>
                  </a:lnTo>
                  <a:close/>
                </a:path>
                <a:path w="292100" h="290195">
                  <a:moveTo>
                    <a:pt x="291490" y="260223"/>
                  </a:moveTo>
                  <a:lnTo>
                    <a:pt x="261747" y="260223"/>
                  </a:lnTo>
                  <a:lnTo>
                    <a:pt x="261747" y="289801"/>
                  </a:lnTo>
                  <a:lnTo>
                    <a:pt x="291490" y="289801"/>
                  </a:lnTo>
                  <a:lnTo>
                    <a:pt x="291490" y="260223"/>
                  </a:lnTo>
                  <a:close/>
                </a:path>
              </a:pathLst>
            </a:custGeom>
            <a:solidFill>
              <a:srgbClr val="7070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47">
              <a:extLst>
                <a:ext uri="{FF2B5EF4-FFF2-40B4-BE49-F238E27FC236}">
                  <a16:creationId xmlns:a16="http://schemas.microsoft.com/office/drawing/2014/main" id="{53294AC9-8D49-6100-28ED-7AD40B519BEA}"/>
                </a:ext>
              </a:extLst>
            </p:cNvPr>
            <p:cNvSpPr/>
            <p:nvPr/>
          </p:nvSpPr>
          <p:spPr>
            <a:xfrm>
              <a:off x="7482204" y="3109718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48">
              <a:extLst>
                <a:ext uri="{FF2B5EF4-FFF2-40B4-BE49-F238E27FC236}">
                  <a16:creationId xmlns:a16="http://schemas.microsoft.com/office/drawing/2014/main" id="{517E23BE-C673-952E-E737-0AAF1122C501}"/>
                </a:ext>
              </a:extLst>
            </p:cNvPr>
            <p:cNvSpPr/>
            <p:nvPr/>
          </p:nvSpPr>
          <p:spPr>
            <a:xfrm>
              <a:off x="7482204" y="3161856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272"/>
                  </a:lnTo>
                  <a:lnTo>
                    <a:pt x="29763" y="29272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49">
              <a:extLst>
                <a:ext uri="{FF2B5EF4-FFF2-40B4-BE49-F238E27FC236}">
                  <a16:creationId xmlns:a16="http://schemas.microsoft.com/office/drawing/2014/main" id="{508D94B5-CC4A-5090-0B54-5049463C416B}"/>
                </a:ext>
              </a:extLst>
            </p:cNvPr>
            <p:cNvSpPr/>
            <p:nvPr/>
          </p:nvSpPr>
          <p:spPr>
            <a:xfrm>
              <a:off x="7429754" y="3161855"/>
              <a:ext cx="82550" cy="133985"/>
            </a:xfrm>
            <a:custGeom>
              <a:avLst/>
              <a:gdLst/>
              <a:ahLst/>
              <a:cxnLst/>
              <a:rect l="l" t="t" r="r" b="b"/>
              <a:pathLst>
                <a:path w="82550" h="133985">
                  <a:moveTo>
                    <a:pt x="29756" y="103835"/>
                  </a:moveTo>
                  <a:lnTo>
                    <a:pt x="0" y="103835"/>
                  </a:lnTo>
                  <a:lnTo>
                    <a:pt x="0" y="133413"/>
                  </a:lnTo>
                  <a:lnTo>
                    <a:pt x="29756" y="133413"/>
                  </a:lnTo>
                  <a:lnTo>
                    <a:pt x="29756" y="103835"/>
                  </a:lnTo>
                  <a:close/>
                </a:path>
                <a:path w="82550" h="133985">
                  <a:moveTo>
                    <a:pt x="29756" y="51752"/>
                  </a:moveTo>
                  <a:lnTo>
                    <a:pt x="0" y="51752"/>
                  </a:lnTo>
                  <a:lnTo>
                    <a:pt x="0" y="81343"/>
                  </a:lnTo>
                  <a:lnTo>
                    <a:pt x="29756" y="81343"/>
                  </a:lnTo>
                  <a:lnTo>
                    <a:pt x="29756" y="51752"/>
                  </a:lnTo>
                  <a:close/>
                </a:path>
                <a:path w="82550" h="133985">
                  <a:moveTo>
                    <a:pt x="29756" y="0"/>
                  </a:moveTo>
                  <a:lnTo>
                    <a:pt x="0" y="0"/>
                  </a:lnTo>
                  <a:lnTo>
                    <a:pt x="0" y="29273"/>
                  </a:lnTo>
                  <a:lnTo>
                    <a:pt x="29756" y="29273"/>
                  </a:lnTo>
                  <a:lnTo>
                    <a:pt x="29756" y="0"/>
                  </a:lnTo>
                  <a:close/>
                </a:path>
                <a:path w="82550" h="133985">
                  <a:moveTo>
                    <a:pt x="82219" y="103835"/>
                  </a:moveTo>
                  <a:lnTo>
                    <a:pt x="52451" y="103835"/>
                  </a:lnTo>
                  <a:lnTo>
                    <a:pt x="52451" y="133413"/>
                  </a:lnTo>
                  <a:lnTo>
                    <a:pt x="82219" y="133413"/>
                  </a:lnTo>
                  <a:lnTo>
                    <a:pt x="82219" y="103835"/>
                  </a:lnTo>
                  <a:close/>
                </a:path>
                <a:path w="82550" h="133985">
                  <a:moveTo>
                    <a:pt x="82219" y="51752"/>
                  </a:moveTo>
                  <a:lnTo>
                    <a:pt x="52451" y="51752"/>
                  </a:lnTo>
                  <a:lnTo>
                    <a:pt x="52451" y="81343"/>
                  </a:lnTo>
                  <a:lnTo>
                    <a:pt x="82219" y="81343"/>
                  </a:lnTo>
                  <a:lnTo>
                    <a:pt x="82219" y="51752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50">
              <a:extLst>
                <a:ext uri="{FF2B5EF4-FFF2-40B4-BE49-F238E27FC236}">
                  <a16:creationId xmlns:a16="http://schemas.microsoft.com/office/drawing/2014/main" id="{9E284A13-D45A-01AE-235E-F33A5C2E47AA}"/>
                </a:ext>
              </a:extLst>
            </p:cNvPr>
            <p:cNvSpPr/>
            <p:nvPr/>
          </p:nvSpPr>
          <p:spPr>
            <a:xfrm>
              <a:off x="7377303" y="3057651"/>
              <a:ext cx="82550" cy="238125"/>
            </a:xfrm>
            <a:custGeom>
              <a:avLst/>
              <a:gdLst/>
              <a:ahLst/>
              <a:cxnLst/>
              <a:rect l="l" t="t" r="r" b="b"/>
              <a:pathLst>
                <a:path w="82550" h="238125">
                  <a:moveTo>
                    <a:pt x="29756" y="208038"/>
                  </a:moveTo>
                  <a:lnTo>
                    <a:pt x="0" y="208038"/>
                  </a:lnTo>
                  <a:lnTo>
                    <a:pt x="0" y="237617"/>
                  </a:lnTo>
                  <a:lnTo>
                    <a:pt x="29756" y="237617"/>
                  </a:lnTo>
                  <a:lnTo>
                    <a:pt x="29756" y="208038"/>
                  </a:lnTo>
                  <a:close/>
                </a:path>
                <a:path w="82550" h="238125">
                  <a:moveTo>
                    <a:pt x="29756" y="155956"/>
                  </a:moveTo>
                  <a:lnTo>
                    <a:pt x="0" y="155956"/>
                  </a:lnTo>
                  <a:lnTo>
                    <a:pt x="0" y="185547"/>
                  </a:lnTo>
                  <a:lnTo>
                    <a:pt x="29756" y="185547"/>
                  </a:lnTo>
                  <a:lnTo>
                    <a:pt x="29756" y="155956"/>
                  </a:lnTo>
                  <a:close/>
                </a:path>
                <a:path w="82550" h="238125">
                  <a:moveTo>
                    <a:pt x="29756" y="104203"/>
                  </a:moveTo>
                  <a:lnTo>
                    <a:pt x="0" y="104203"/>
                  </a:lnTo>
                  <a:lnTo>
                    <a:pt x="0" y="133477"/>
                  </a:lnTo>
                  <a:lnTo>
                    <a:pt x="29756" y="133477"/>
                  </a:lnTo>
                  <a:lnTo>
                    <a:pt x="29756" y="104203"/>
                  </a:lnTo>
                  <a:close/>
                </a:path>
                <a:path w="82550" h="238125">
                  <a:moveTo>
                    <a:pt x="82207" y="52070"/>
                  </a:moveTo>
                  <a:lnTo>
                    <a:pt x="52451" y="52070"/>
                  </a:lnTo>
                  <a:lnTo>
                    <a:pt x="52451" y="81661"/>
                  </a:lnTo>
                  <a:lnTo>
                    <a:pt x="82207" y="81661"/>
                  </a:lnTo>
                  <a:lnTo>
                    <a:pt x="82207" y="52070"/>
                  </a:lnTo>
                  <a:close/>
                </a:path>
                <a:path w="82550" h="238125">
                  <a:moveTo>
                    <a:pt x="82207" y="0"/>
                  </a:moveTo>
                  <a:lnTo>
                    <a:pt x="52451" y="0"/>
                  </a:lnTo>
                  <a:lnTo>
                    <a:pt x="52451" y="29591"/>
                  </a:lnTo>
                  <a:lnTo>
                    <a:pt x="82207" y="29591"/>
                  </a:lnTo>
                  <a:lnTo>
                    <a:pt x="82207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51">
              <a:extLst>
                <a:ext uri="{FF2B5EF4-FFF2-40B4-BE49-F238E27FC236}">
                  <a16:creationId xmlns:a16="http://schemas.microsoft.com/office/drawing/2014/main" id="{0B1064C9-63A8-CDF5-9AEA-D9C945DD8627}"/>
                </a:ext>
              </a:extLst>
            </p:cNvPr>
            <p:cNvSpPr/>
            <p:nvPr/>
          </p:nvSpPr>
          <p:spPr>
            <a:xfrm>
              <a:off x="7325232" y="3265674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5">
                  <a:moveTo>
                    <a:pt x="29439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439" y="29594"/>
                  </a:lnTo>
                  <a:lnTo>
                    <a:pt x="29439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52">
              <a:extLst>
                <a:ext uri="{FF2B5EF4-FFF2-40B4-BE49-F238E27FC236}">
                  <a16:creationId xmlns:a16="http://schemas.microsoft.com/office/drawing/2014/main" id="{F1B22522-B9CF-EB01-3CB7-7CAD4AEFFC15}"/>
                </a:ext>
              </a:extLst>
            </p:cNvPr>
            <p:cNvSpPr/>
            <p:nvPr/>
          </p:nvSpPr>
          <p:spPr>
            <a:xfrm>
              <a:off x="7325232" y="3213604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439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439" y="29594"/>
                  </a:lnTo>
                  <a:lnTo>
                    <a:pt x="29439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53">
              <a:extLst>
                <a:ext uri="{FF2B5EF4-FFF2-40B4-BE49-F238E27FC236}">
                  <a16:creationId xmlns:a16="http://schemas.microsoft.com/office/drawing/2014/main" id="{41DC8C02-CD74-ECCF-4B05-BBBB8DE23407}"/>
                </a:ext>
              </a:extLst>
            </p:cNvPr>
            <p:cNvSpPr/>
            <p:nvPr/>
          </p:nvSpPr>
          <p:spPr>
            <a:xfrm>
              <a:off x="7325232" y="3161856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439" y="0"/>
                  </a:moveTo>
                  <a:lnTo>
                    <a:pt x="0" y="0"/>
                  </a:lnTo>
                  <a:lnTo>
                    <a:pt x="0" y="29272"/>
                  </a:lnTo>
                  <a:lnTo>
                    <a:pt x="29439" y="29272"/>
                  </a:lnTo>
                  <a:lnTo>
                    <a:pt x="29439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54">
              <a:extLst>
                <a:ext uri="{FF2B5EF4-FFF2-40B4-BE49-F238E27FC236}">
                  <a16:creationId xmlns:a16="http://schemas.microsoft.com/office/drawing/2014/main" id="{EB50BCBA-1D00-5A9C-3109-C4DE99B196C9}"/>
                </a:ext>
              </a:extLst>
            </p:cNvPr>
            <p:cNvSpPr/>
            <p:nvPr/>
          </p:nvSpPr>
          <p:spPr>
            <a:xfrm>
              <a:off x="7272908" y="3265674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5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55">
              <a:extLst>
                <a:ext uri="{FF2B5EF4-FFF2-40B4-BE49-F238E27FC236}">
                  <a16:creationId xmlns:a16="http://schemas.microsoft.com/office/drawing/2014/main" id="{C051C617-0077-20E3-AC58-AED421D58FF2}"/>
                </a:ext>
              </a:extLst>
            </p:cNvPr>
            <p:cNvSpPr/>
            <p:nvPr/>
          </p:nvSpPr>
          <p:spPr>
            <a:xfrm>
              <a:off x="7272908" y="3213604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7070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56">
              <a:extLst>
                <a:ext uri="{FF2B5EF4-FFF2-40B4-BE49-F238E27FC236}">
                  <a16:creationId xmlns:a16="http://schemas.microsoft.com/office/drawing/2014/main" id="{80C0C673-B789-F58C-1E3B-F331D3240EA3}"/>
                </a:ext>
              </a:extLst>
            </p:cNvPr>
            <p:cNvSpPr/>
            <p:nvPr/>
          </p:nvSpPr>
          <p:spPr>
            <a:xfrm>
              <a:off x="7272908" y="3161856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272"/>
                  </a:lnTo>
                  <a:lnTo>
                    <a:pt x="29763" y="29272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57">
              <a:extLst>
                <a:ext uri="{FF2B5EF4-FFF2-40B4-BE49-F238E27FC236}">
                  <a16:creationId xmlns:a16="http://schemas.microsoft.com/office/drawing/2014/main" id="{C59DE1EF-3EBA-7567-E41D-F13A2B764234}"/>
                </a:ext>
              </a:extLst>
            </p:cNvPr>
            <p:cNvSpPr/>
            <p:nvPr/>
          </p:nvSpPr>
          <p:spPr>
            <a:xfrm>
              <a:off x="7272909" y="3005467"/>
              <a:ext cx="501015" cy="133985"/>
            </a:xfrm>
            <a:custGeom>
              <a:avLst/>
              <a:gdLst/>
              <a:ahLst/>
              <a:cxnLst/>
              <a:rect l="l" t="t" r="r" b="b"/>
              <a:pathLst>
                <a:path w="501015" h="133985">
                  <a:moveTo>
                    <a:pt x="134264" y="52146"/>
                  </a:moveTo>
                  <a:lnTo>
                    <a:pt x="0" y="52146"/>
                  </a:lnTo>
                  <a:lnTo>
                    <a:pt x="0" y="133845"/>
                  </a:lnTo>
                  <a:lnTo>
                    <a:pt x="134264" y="133845"/>
                  </a:lnTo>
                  <a:lnTo>
                    <a:pt x="134264" y="52146"/>
                  </a:lnTo>
                  <a:close/>
                </a:path>
                <a:path w="501015" h="133985">
                  <a:moveTo>
                    <a:pt x="500811" y="0"/>
                  </a:moveTo>
                  <a:lnTo>
                    <a:pt x="471043" y="0"/>
                  </a:lnTo>
                  <a:lnTo>
                    <a:pt x="471043" y="29578"/>
                  </a:lnTo>
                  <a:lnTo>
                    <a:pt x="500811" y="29578"/>
                  </a:lnTo>
                  <a:lnTo>
                    <a:pt x="500811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58">
              <a:extLst>
                <a:ext uri="{FF2B5EF4-FFF2-40B4-BE49-F238E27FC236}">
                  <a16:creationId xmlns:a16="http://schemas.microsoft.com/office/drawing/2014/main" id="{7BB1D561-77D2-D8BA-E3D4-6A71FE8131EF}"/>
                </a:ext>
              </a:extLst>
            </p:cNvPr>
            <p:cNvSpPr/>
            <p:nvPr/>
          </p:nvSpPr>
          <p:spPr>
            <a:xfrm>
              <a:off x="7743951" y="3057648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7070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59">
              <a:extLst>
                <a:ext uri="{FF2B5EF4-FFF2-40B4-BE49-F238E27FC236}">
                  <a16:creationId xmlns:a16="http://schemas.microsoft.com/office/drawing/2014/main" id="{1D90CEE1-979D-343A-28ED-EAAC36FE0321}"/>
                </a:ext>
              </a:extLst>
            </p:cNvPr>
            <p:cNvSpPr/>
            <p:nvPr/>
          </p:nvSpPr>
          <p:spPr>
            <a:xfrm>
              <a:off x="7691500" y="3057648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60">
              <a:extLst>
                <a:ext uri="{FF2B5EF4-FFF2-40B4-BE49-F238E27FC236}">
                  <a16:creationId xmlns:a16="http://schemas.microsoft.com/office/drawing/2014/main" id="{685B1AA5-46C2-FE19-91D6-E7A4CA1597A7}"/>
                </a:ext>
              </a:extLst>
            </p:cNvPr>
            <p:cNvSpPr/>
            <p:nvPr/>
          </p:nvSpPr>
          <p:spPr>
            <a:xfrm>
              <a:off x="7743951" y="3109718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61">
              <a:extLst>
                <a:ext uri="{FF2B5EF4-FFF2-40B4-BE49-F238E27FC236}">
                  <a16:creationId xmlns:a16="http://schemas.microsoft.com/office/drawing/2014/main" id="{B22F64C2-2FA3-FD59-49EB-E26297CB8385}"/>
                </a:ext>
              </a:extLst>
            </p:cNvPr>
            <p:cNvSpPr/>
            <p:nvPr/>
          </p:nvSpPr>
          <p:spPr>
            <a:xfrm>
              <a:off x="7743951" y="3161856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272"/>
                  </a:lnTo>
                  <a:lnTo>
                    <a:pt x="29763" y="29272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62">
              <a:extLst>
                <a:ext uri="{FF2B5EF4-FFF2-40B4-BE49-F238E27FC236}">
                  <a16:creationId xmlns:a16="http://schemas.microsoft.com/office/drawing/2014/main" id="{F5786AF7-ADC2-02F7-FEB5-C85C1352138A}"/>
                </a:ext>
              </a:extLst>
            </p:cNvPr>
            <p:cNvSpPr/>
            <p:nvPr/>
          </p:nvSpPr>
          <p:spPr>
            <a:xfrm>
              <a:off x="7743951" y="3213604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4">
                  <a:moveTo>
                    <a:pt x="29763" y="0"/>
                  </a:moveTo>
                  <a:lnTo>
                    <a:pt x="0" y="0"/>
                  </a:lnTo>
                  <a:lnTo>
                    <a:pt x="0" y="29594"/>
                  </a:lnTo>
                  <a:lnTo>
                    <a:pt x="29763" y="29594"/>
                  </a:lnTo>
                  <a:lnTo>
                    <a:pt x="2976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63">
              <a:extLst>
                <a:ext uri="{FF2B5EF4-FFF2-40B4-BE49-F238E27FC236}">
                  <a16:creationId xmlns:a16="http://schemas.microsoft.com/office/drawing/2014/main" id="{A7580438-F443-3BDF-212B-57433DFF6FE4}"/>
                </a:ext>
              </a:extLst>
            </p:cNvPr>
            <p:cNvSpPr/>
            <p:nvPr/>
          </p:nvSpPr>
          <p:spPr>
            <a:xfrm>
              <a:off x="7691501" y="3005467"/>
              <a:ext cx="82550" cy="290195"/>
            </a:xfrm>
            <a:custGeom>
              <a:avLst/>
              <a:gdLst/>
              <a:ahLst/>
              <a:cxnLst/>
              <a:rect l="l" t="t" r="r" b="b"/>
              <a:pathLst>
                <a:path w="82550" h="290195">
                  <a:moveTo>
                    <a:pt x="29756" y="0"/>
                  </a:moveTo>
                  <a:lnTo>
                    <a:pt x="0" y="0"/>
                  </a:lnTo>
                  <a:lnTo>
                    <a:pt x="0" y="29578"/>
                  </a:lnTo>
                  <a:lnTo>
                    <a:pt x="29756" y="29578"/>
                  </a:lnTo>
                  <a:lnTo>
                    <a:pt x="29756" y="0"/>
                  </a:lnTo>
                  <a:close/>
                </a:path>
                <a:path w="82550" h="290195">
                  <a:moveTo>
                    <a:pt x="82219" y="260223"/>
                  </a:moveTo>
                  <a:lnTo>
                    <a:pt x="52451" y="260223"/>
                  </a:lnTo>
                  <a:lnTo>
                    <a:pt x="52451" y="289801"/>
                  </a:lnTo>
                  <a:lnTo>
                    <a:pt x="82219" y="289801"/>
                  </a:lnTo>
                  <a:lnTo>
                    <a:pt x="82219" y="260223"/>
                  </a:lnTo>
                  <a:close/>
                </a:path>
              </a:pathLst>
            </a:custGeom>
            <a:solidFill>
              <a:srgbClr val="7070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64">
              <a:extLst>
                <a:ext uri="{FF2B5EF4-FFF2-40B4-BE49-F238E27FC236}">
                  <a16:creationId xmlns:a16="http://schemas.microsoft.com/office/drawing/2014/main" id="{643B01BC-A1B6-BFE1-9E07-96CE81B652C0}"/>
                </a:ext>
              </a:extLst>
            </p:cNvPr>
            <p:cNvSpPr/>
            <p:nvPr/>
          </p:nvSpPr>
          <p:spPr>
            <a:xfrm>
              <a:off x="7691501" y="3213607"/>
              <a:ext cx="29845" cy="81915"/>
            </a:xfrm>
            <a:custGeom>
              <a:avLst/>
              <a:gdLst/>
              <a:ahLst/>
              <a:cxnLst/>
              <a:rect l="l" t="t" r="r" b="b"/>
              <a:pathLst>
                <a:path w="29845" h="81914">
                  <a:moveTo>
                    <a:pt x="29756" y="52082"/>
                  </a:moveTo>
                  <a:lnTo>
                    <a:pt x="0" y="52082"/>
                  </a:lnTo>
                  <a:lnTo>
                    <a:pt x="0" y="81661"/>
                  </a:lnTo>
                  <a:lnTo>
                    <a:pt x="29756" y="81661"/>
                  </a:lnTo>
                  <a:lnTo>
                    <a:pt x="29756" y="52082"/>
                  </a:lnTo>
                  <a:close/>
                </a:path>
                <a:path w="29845" h="81914">
                  <a:moveTo>
                    <a:pt x="29756" y="0"/>
                  </a:moveTo>
                  <a:lnTo>
                    <a:pt x="0" y="0"/>
                  </a:lnTo>
                  <a:lnTo>
                    <a:pt x="0" y="29591"/>
                  </a:lnTo>
                  <a:lnTo>
                    <a:pt x="29756" y="29591"/>
                  </a:lnTo>
                  <a:lnTo>
                    <a:pt x="29756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65">
              <a:extLst>
                <a:ext uri="{FF2B5EF4-FFF2-40B4-BE49-F238E27FC236}">
                  <a16:creationId xmlns:a16="http://schemas.microsoft.com/office/drawing/2014/main" id="{A99681BA-2EB8-F8FE-1CE4-9CDA92E4EE24}"/>
                </a:ext>
              </a:extLst>
            </p:cNvPr>
            <p:cNvSpPr/>
            <p:nvPr/>
          </p:nvSpPr>
          <p:spPr>
            <a:xfrm>
              <a:off x="7584439" y="3057652"/>
              <a:ext cx="113664" cy="205740"/>
            </a:xfrm>
            <a:custGeom>
              <a:avLst/>
              <a:gdLst/>
              <a:ahLst/>
              <a:cxnLst/>
              <a:rect l="l" t="t" r="r" b="b"/>
              <a:pathLst>
                <a:path w="113665" h="205739">
                  <a:moveTo>
                    <a:pt x="2539" y="0"/>
                  </a:moveTo>
                  <a:lnTo>
                    <a:pt x="0" y="150495"/>
                  </a:lnTo>
                  <a:lnTo>
                    <a:pt x="41020" y="121158"/>
                  </a:lnTo>
                  <a:lnTo>
                    <a:pt x="78231" y="205486"/>
                  </a:lnTo>
                  <a:lnTo>
                    <a:pt x="99949" y="196469"/>
                  </a:lnTo>
                  <a:lnTo>
                    <a:pt x="63118" y="109982"/>
                  </a:lnTo>
                  <a:lnTo>
                    <a:pt x="113156" y="103505"/>
                  </a:lnTo>
                  <a:lnTo>
                    <a:pt x="2539" y="0"/>
                  </a:lnTo>
                  <a:close/>
                </a:path>
              </a:pathLst>
            </a:custGeom>
            <a:solidFill>
              <a:srgbClr val="5450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5" name="object 66">
            <a:extLst>
              <a:ext uri="{FF2B5EF4-FFF2-40B4-BE49-F238E27FC236}">
                <a16:creationId xmlns:a16="http://schemas.microsoft.com/office/drawing/2014/main" id="{345A003D-4981-1086-4786-CA6635963D46}"/>
              </a:ext>
            </a:extLst>
          </p:cNvPr>
          <p:cNvGrpSpPr/>
          <p:nvPr/>
        </p:nvGrpSpPr>
        <p:grpSpPr>
          <a:xfrm>
            <a:off x="9590913" y="7888845"/>
            <a:ext cx="1296035" cy="1226920"/>
            <a:chOff x="9312275" y="2590419"/>
            <a:chExt cx="1296035" cy="1296035"/>
          </a:xfrm>
        </p:grpSpPr>
        <p:sp>
          <p:nvSpPr>
            <p:cNvPr id="56" name="object 67">
              <a:extLst>
                <a:ext uri="{FF2B5EF4-FFF2-40B4-BE49-F238E27FC236}">
                  <a16:creationId xmlns:a16="http://schemas.microsoft.com/office/drawing/2014/main" id="{81867A57-D2F6-9FD9-63DA-E89DAC65B1C8}"/>
                </a:ext>
              </a:extLst>
            </p:cNvPr>
            <p:cNvSpPr/>
            <p:nvPr/>
          </p:nvSpPr>
          <p:spPr>
            <a:xfrm>
              <a:off x="9312275" y="2590419"/>
              <a:ext cx="1296035" cy="1296035"/>
            </a:xfrm>
            <a:custGeom>
              <a:avLst/>
              <a:gdLst/>
              <a:ahLst/>
              <a:cxnLst/>
              <a:rect l="l" t="t" r="r" b="b"/>
              <a:pathLst>
                <a:path w="1296034" h="1296035">
                  <a:moveTo>
                    <a:pt x="1296034" y="0"/>
                  </a:moveTo>
                  <a:lnTo>
                    <a:pt x="0" y="0"/>
                  </a:lnTo>
                  <a:lnTo>
                    <a:pt x="0" y="1295780"/>
                  </a:lnTo>
                  <a:lnTo>
                    <a:pt x="1296034" y="1295780"/>
                  </a:lnTo>
                  <a:lnTo>
                    <a:pt x="1296034" y="0"/>
                  </a:lnTo>
                  <a:close/>
                </a:path>
              </a:pathLst>
            </a:custGeom>
            <a:solidFill>
              <a:srgbClr val="CDCDE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68">
              <a:extLst>
                <a:ext uri="{FF2B5EF4-FFF2-40B4-BE49-F238E27FC236}">
                  <a16:creationId xmlns:a16="http://schemas.microsoft.com/office/drawing/2014/main" id="{6BD5A7F8-F87D-7A26-6FB5-E5119F4103A8}"/>
                </a:ext>
              </a:extLst>
            </p:cNvPr>
            <p:cNvSpPr/>
            <p:nvPr/>
          </p:nvSpPr>
          <p:spPr>
            <a:xfrm>
              <a:off x="9609454" y="2901315"/>
              <a:ext cx="701675" cy="674370"/>
            </a:xfrm>
            <a:custGeom>
              <a:avLst/>
              <a:gdLst/>
              <a:ahLst/>
              <a:cxnLst/>
              <a:rect l="l" t="t" r="r" b="b"/>
              <a:pathLst>
                <a:path w="701675" h="674370">
                  <a:moveTo>
                    <a:pt x="464947" y="0"/>
                  </a:moveTo>
                  <a:lnTo>
                    <a:pt x="418084" y="0"/>
                  </a:lnTo>
                  <a:lnTo>
                    <a:pt x="373125" y="8255"/>
                  </a:lnTo>
                  <a:lnTo>
                    <a:pt x="330962" y="23875"/>
                  </a:lnTo>
                  <a:lnTo>
                    <a:pt x="292608" y="46355"/>
                  </a:lnTo>
                  <a:lnTo>
                    <a:pt x="258572" y="74930"/>
                  </a:lnTo>
                  <a:lnTo>
                    <a:pt x="229743" y="108965"/>
                  </a:lnTo>
                  <a:lnTo>
                    <a:pt x="207010" y="147827"/>
                  </a:lnTo>
                  <a:lnTo>
                    <a:pt x="191008" y="190881"/>
                  </a:lnTo>
                  <a:lnTo>
                    <a:pt x="182752" y="237236"/>
                  </a:lnTo>
                  <a:lnTo>
                    <a:pt x="182879" y="284861"/>
                  </a:lnTo>
                  <a:lnTo>
                    <a:pt x="191262" y="330326"/>
                  </a:lnTo>
                  <a:lnTo>
                    <a:pt x="207264" y="372872"/>
                  </a:lnTo>
                  <a:lnTo>
                    <a:pt x="229997" y="411861"/>
                  </a:lnTo>
                  <a:lnTo>
                    <a:pt x="183769" y="454279"/>
                  </a:lnTo>
                  <a:lnTo>
                    <a:pt x="168401" y="437896"/>
                  </a:lnTo>
                  <a:lnTo>
                    <a:pt x="0" y="593471"/>
                  </a:lnTo>
                  <a:lnTo>
                    <a:pt x="73914" y="673862"/>
                  </a:lnTo>
                  <a:lnTo>
                    <a:pt x="242697" y="518287"/>
                  </a:lnTo>
                  <a:lnTo>
                    <a:pt x="221996" y="495935"/>
                  </a:lnTo>
                  <a:lnTo>
                    <a:pt x="267589" y="453898"/>
                  </a:lnTo>
                  <a:lnTo>
                    <a:pt x="300227" y="479171"/>
                  </a:lnTo>
                  <a:lnTo>
                    <a:pt x="336803" y="498983"/>
                  </a:lnTo>
                  <a:lnTo>
                    <a:pt x="376681" y="512952"/>
                  </a:lnTo>
                  <a:lnTo>
                    <a:pt x="419353" y="520319"/>
                  </a:lnTo>
                  <a:lnTo>
                    <a:pt x="466471" y="520319"/>
                  </a:lnTo>
                  <a:lnTo>
                    <a:pt x="511428" y="512063"/>
                  </a:lnTo>
                  <a:lnTo>
                    <a:pt x="553466" y="496443"/>
                  </a:lnTo>
                  <a:lnTo>
                    <a:pt x="591947" y="473963"/>
                  </a:lnTo>
                  <a:lnTo>
                    <a:pt x="625983" y="445388"/>
                  </a:lnTo>
                  <a:lnTo>
                    <a:pt x="654685" y="411225"/>
                  </a:lnTo>
                  <a:lnTo>
                    <a:pt x="677418" y="372490"/>
                  </a:lnTo>
                  <a:lnTo>
                    <a:pt x="693293" y="329438"/>
                  </a:lnTo>
                  <a:lnTo>
                    <a:pt x="701675" y="282956"/>
                  </a:lnTo>
                  <a:lnTo>
                    <a:pt x="701548" y="235965"/>
                  </a:lnTo>
                  <a:lnTo>
                    <a:pt x="693420" y="190881"/>
                  </a:lnTo>
                  <a:lnTo>
                    <a:pt x="677799" y="148589"/>
                  </a:lnTo>
                  <a:lnTo>
                    <a:pt x="655320" y="110109"/>
                  </a:lnTo>
                  <a:lnTo>
                    <a:pt x="626872" y="75946"/>
                  </a:lnTo>
                  <a:lnTo>
                    <a:pt x="592963" y="47117"/>
                  </a:lnTo>
                  <a:lnTo>
                    <a:pt x="554101" y="24257"/>
                  </a:lnTo>
                  <a:lnTo>
                    <a:pt x="511301" y="8255"/>
                  </a:lnTo>
                  <a:lnTo>
                    <a:pt x="464947" y="0"/>
                  </a:lnTo>
                  <a:close/>
                </a:path>
              </a:pathLst>
            </a:custGeom>
            <a:solidFill>
              <a:srgbClr val="5450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69">
              <a:extLst>
                <a:ext uri="{FF2B5EF4-FFF2-40B4-BE49-F238E27FC236}">
                  <a16:creationId xmlns:a16="http://schemas.microsoft.com/office/drawing/2014/main" id="{C50013F9-6E35-09D1-A1E3-D459F5869527}"/>
                </a:ext>
              </a:extLst>
            </p:cNvPr>
            <p:cNvSpPr/>
            <p:nvPr/>
          </p:nvSpPr>
          <p:spPr>
            <a:xfrm>
              <a:off x="9852405" y="2961640"/>
              <a:ext cx="398780" cy="400050"/>
            </a:xfrm>
            <a:custGeom>
              <a:avLst/>
              <a:gdLst/>
              <a:ahLst/>
              <a:cxnLst/>
              <a:rect l="l" t="t" r="r" b="b"/>
              <a:pathLst>
                <a:path w="398779" h="400050">
                  <a:moveTo>
                    <a:pt x="216662" y="0"/>
                  </a:moveTo>
                  <a:lnTo>
                    <a:pt x="170688" y="1270"/>
                  </a:lnTo>
                  <a:lnTo>
                    <a:pt x="127380" y="12573"/>
                  </a:lnTo>
                  <a:lnTo>
                    <a:pt x="88392" y="32893"/>
                  </a:lnTo>
                  <a:lnTo>
                    <a:pt x="54737" y="61087"/>
                  </a:lnTo>
                  <a:lnTo>
                    <a:pt x="28067" y="96138"/>
                  </a:lnTo>
                  <a:lnTo>
                    <a:pt x="9271" y="136906"/>
                  </a:lnTo>
                  <a:lnTo>
                    <a:pt x="0" y="182245"/>
                  </a:lnTo>
                  <a:lnTo>
                    <a:pt x="1270" y="228473"/>
                  </a:lnTo>
                  <a:lnTo>
                    <a:pt x="12573" y="271907"/>
                  </a:lnTo>
                  <a:lnTo>
                    <a:pt x="32893" y="311023"/>
                  </a:lnTo>
                  <a:lnTo>
                    <a:pt x="60960" y="344677"/>
                  </a:lnTo>
                  <a:lnTo>
                    <a:pt x="95885" y="371601"/>
                  </a:lnTo>
                  <a:lnTo>
                    <a:pt x="136525" y="390271"/>
                  </a:lnTo>
                  <a:lnTo>
                    <a:pt x="181737" y="399542"/>
                  </a:lnTo>
                  <a:lnTo>
                    <a:pt x="227965" y="398272"/>
                  </a:lnTo>
                  <a:lnTo>
                    <a:pt x="271272" y="386969"/>
                  </a:lnTo>
                  <a:lnTo>
                    <a:pt x="310261" y="366649"/>
                  </a:lnTo>
                  <a:lnTo>
                    <a:pt x="343789" y="338455"/>
                  </a:lnTo>
                  <a:lnTo>
                    <a:pt x="370586" y="303530"/>
                  </a:lnTo>
                  <a:lnTo>
                    <a:pt x="389127" y="262763"/>
                  </a:lnTo>
                  <a:lnTo>
                    <a:pt x="398399" y="217297"/>
                  </a:lnTo>
                  <a:lnTo>
                    <a:pt x="397128" y="171196"/>
                  </a:lnTo>
                  <a:lnTo>
                    <a:pt x="385952" y="127762"/>
                  </a:lnTo>
                  <a:lnTo>
                    <a:pt x="365633" y="88646"/>
                  </a:lnTo>
                  <a:lnTo>
                    <a:pt x="337566" y="54990"/>
                  </a:lnTo>
                  <a:lnTo>
                    <a:pt x="302641" y="28067"/>
                  </a:lnTo>
                  <a:lnTo>
                    <a:pt x="262000" y="9398"/>
                  </a:lnTo>
                  <a:lnTo>
                    <a:pt x="216662" y="0"/>
                  </a:lnTo>
                  <a:close/>
                </a:path>
              </a:pathLst>
            </a:custGeom>
            <a:solidFill>
              <a:srgbClr val="FCFCF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70">
              <a:extLst>
                <a:ext uri="{FF2B5EF4-FFF2-40B4-BE49-F238E27FC236}">
                  <a16:creationId xmlns:a16="http://schemas.microsoft.com/office/drawing/2014/main" id="{3F251020-7F34-09C9-B28E-F72A43EC5DFC}"/>
                </a:ext>
              </a:extLst>
            </p:cNvPr>
            <p:cNvSpPr/>
            <p:nvPr/>
          </p:nvSpPr>
          <p:spPr>
            <a:xfrm>
              <a:off x="9916668" y="3097530"/>
              <a:ext cx="269875" cy="128270"/>
            </a:xfrm>
            <a:custGeom>
              <a:avLst/>
              <a:gdLst/>
              <a:ahLst/>
              <a:cxnLst/>
              <a:rect l="l" t="t" r="r" b="b"/>
              <a:pathLst>
                <a:path w="269875" h="128269">
                  <a:moveTo>
                    <a:pt x="89153" y="0"/>
                  </a:moveTo>
                  <a:lnTo>
                    <a:pt x="0" y="91440"/>
                  </a:lnTo>
                  <a:lnTo>
                    <a:pt x="21971" y="113157"/>
                  </a:lnTo>
                  <a:lnTo>
                    <a:pt x="89915" y="43434"/>
                  </a:lnTo>
                  <a:lnTo>
                    <a:pt x="176149" y="127889"/>
                  </a:lnTo>
                  <a:lnTo>
                    <a:pt x="269621" y="32004"/>
                  </a:lnTo>
                  <a:lnTo>
                    <a:pt x="247650" y="10414"/>
                  </a:lnTo>
                  <a:lnTo>
                    <a:pt x="175386" y="84455"/>
                  </a:lnTo>
                  <a:lnTo>
                    <a:pt x="89153" y="0"/>
                  </a:lnTo>
                  <a:close/>
                </a:path>
              </a:pathLst>
            </a:custGeom>
            <a:solidFill>
              <a:srgbClr val="B5B5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0" name="object 71">
            <a:extLst>
              <a:ext uri="{FF2B5EF4-FFF2-40B4-BE49-F238E27FC236}">
                <a16:creationId xmlns:a16="http://schemas.microsoft.com/office/drawing/2014/main" id="{292FABE4-100C-673C-4E78-C235E190D218}"/>
              </a:ext>
            </a:extLst>
          </p:cNvPr>
          <p:cNvGrpSpPr/>
          <p:nvPr/>
        </p:nvGrpSpPr>
        <p:grpSpPr>
          <a:xfrm>
            <a:off x="7808035" y="3322532"/>
            <a:ext cx="2774297" cy="2449994"/>
            <a:chOff x="4408296" y="2590419"/>
            <a:chExt cx="1296035" cy="1296035"/>
          </a:xfrm>
        </p:grpSpPr>
        <p:sp>
          <p:nvSpPr>
            <p:cNvPr id="61" name="object 72">
              <a:extLst>
                <a:ext uri="{FF2B5EF4-FFF2-40B4-BE49-F238E27FC236}">
                  <a16:creationId xmlns:a16="http://schemas.microsoft.com/office/drawing/2014/main" id="{BF528A43-0EDD-6F15-0EE2-DC62B679E0BC}"/>
                </a:ext>
              </a:extLst>
            </p:cNvPr>
            <p:cNvSpPr/>
            <p:nvPr/>
          </p:nvSpPr>
          <p:spPr>
            <a:xfrm>
              <a:off x="4408296" y="2590419"/>
              <a:ext cx="1296035" cy="1296035"/>
            </a:xfrm>
            <a:custGeom>
              <a:avLst/>
              <a:gdLst/>
              <a:ahLst/>
              <a:cxnLst/>
              <a:rect l="l" t="t" r="r" b="b"/>
              <a:pathLst>
                <a:path w="1296035" h="1296035">
                  <a:moveTo>
                    <a:pt x="1296035" y="0"/>
                  </a:moveTo>
                  <a:lnTo>
                    <a:pt x="0" y="0"/>
                  </a:lnTo>
                  <a:lnTo>
                    <a:pt x="0" y="1295780"/>
                  </a:lnTo>
                  <a:lnTo>
                    <a:pt x="1296035" y="1295780"/>
                  </a:lnTo>
                  <a:lnTo>
                    <a:pt x="1296035" y="0"/>
                  </a:lnTo>
                  <a:close/>
                </a:path>
              </a:pathLst>
            </a:custGeom>
            <a:solidFill>
              <a:srgbClr val="CDCDE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2" name="object 73">
              <a:extLst>
                <a:ext uri="{FF2B5EF4-FFF2-40B4-BE49-F238E27FC236}">
                  <a16:creationId xmlns:a16="http://schemas.microsoft.com/office/drawing/2014/main" id="{93613283-AC17-310C-2E0E-F6195EBF6BF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42611" y="2894723"/>
              <a:ext cx="827405" cy="687565"/>
            </a:xfrm>
            <a:prstGeom prst="rect">
              <a:avLst/>
            </a:prstGeom>
          </p:spPr>
        </p:pic>
      </p:grp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C209A0FE-0213-5EE9-12F9-FAC116B2D9CD}"/>
              </a:ext>
            </a:extLst>
          </p:cNvPr>
          <p:cNvSpPr/>
          <p:nvPr/>
        </p:nvSpPr>
        <p:spPr>
          <a:xfrm>
            <a:off x="4119746" y="3267321"/>
            <a:ext cx="3538574" cy="2477361"/>
          </a:xfrm>
          <a:prstGeom prst="rect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  <a:p>
            <a:pPr algn="ctr"/>
            <a:endParaRPr lang="ru-RU" sz="12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200" dirty="0"/>
              <a:t>Множество отчетов (фотоотчётов) и ответов на запросы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ru-RU" sz="12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200" dirty="0"/>
              <a:t>Избыточное количество документов, связанных с организационной работой классного руководителя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ru-RU" sz="12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200" dirty="0"/>
              <a:t> Множество информационных систем, требующих внесения информации </a:t>
            </a:r>
          </a:p>
          <a:p>
            <a:endParaRPr lang="ru-RU" sz="1200" dirty="0"/>
          </a:p>
          <a:p>
            <a:pPr algn="ctr"/>
            <a:endParaRPr lang="ru-RU" sz="1200" dirty="0"/>
          </a:p>
          <a:p>
            <a:pPr algn="ctr"/>
            <a:endParaRPr lang="ru-RU" sz="1200" dirty="0"/>
          </a:p>
          <a:p>
            <a:pPr algn="ctr"/>
            <a:endParaRPr lang="ru-RU" sz="1400" dirty="0"/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91B140E-1002-4C2C-33C7-DB5AC29B892C}"/>
              </a:ext>
            </a:extLst>
          </p:cNvPr>
          <p:cNvSpPr/>
          <p:nvPr/>
        </p:nvSpPr>
        <p:spPr>
          <a:xfrm>
            <a:off x="10602685" y="3322615"/>
            <a:ext cx="3347699" cy="2435808"/>
          </a:xfrm>
          <a:prstGeom prst="rect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sz="1200" dirty="0"/>
              <a:t>Множество ответов на запросы</a:t>
            </a:r>
          </a:p>
          <a:p>
            <a:r>
              <a:rPr lang="ru-RU" sz="1200" dirty="0"/>
              <a:t>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sz="1200" dirty="0"/>
              <a:t>Множество отчетов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sz="1200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sz="1200" dirty="0"/>
              <a:t>Множество информационных систем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sz="1200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sz="1200" dirty="0"/>
              <a:t>Множество мониторингов 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77C0BBB-8F80-0747-9CE6-7EC6A6EF7098}"/>
              </a:ext>
            </a:extLst>
          </p:cNvPr>
          <p:cNvSpPr txBox="1"/>
          <p:nvPr/>
        </p:nvSpPr>
        <p:spPr>
          <a:xfrm>
            <a:off x="1904856" y="5207919"/>
            <a:ext cx="15806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565087"/>
                </a:solidFill>
              </a:rPr>
              <a:t>ПЕДАГОГИ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FAC1D86-4225-D8C2-DEAA-F8BB5200C429}"/>
              </a:ext>
            </a:extLst>
          </p:cNvPr>
          <p:cNvSpPr txBox="1"/>
          <p:nvPr/>
        </p:nvSpPr>
        <p:spPr>
          <a:xfrm>
            <a:off x="7899905" y="5236447"/>
            <a:ext cx="26995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565087"/>
                </a:solidFill>
              </a:rPr>
              <a:t>АДМИНИСТРАЦИЯ  </a:t>
            </a:r>
          </a:p>
        </p:txBody>
      </p:sp>
      <p:sp>
        <p:nvSpPr>
          <p:cNvPr id="67" name="Равнобедренный треугольник 66">
            <a:extLst>
              <a:ext uri="{FF2B5EF4-FFF2-40B4-BE49-F238E27FC236}">
                <a16:creationId xmlns:a16="http://schemas.microsoft.com/office/drawing/2014/main" id="{D02533AD-2EE2-A550-843D-B0BCABA2D191}"/>
              </a:ext>
            </a:extLst>
          </p:cNvPr>
          <p:cNvSpPr/>
          <p:nvPr/>
        </p:nvSpPr>
        <p:spPr>
          <a:xfrm rot="10800000">
            <a:off x="1942716" y="2969486"/>
            <a:ext cx="1625137" cy="494276"/>
          </a:xfrm>
          <a:prstGeom prst="triangle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Равнобедренный треугольник 67">
            <a:extLst>
              <a:ext uri="{FF2B5EF4-FFF2-40B4-BE49-F238E27FC236}">
                <a16:creationId xmlns:a16="http://schemas.microsoft.com/office/drawing/2014/main" id="{00C5804F-1432-CB39-3141-B8D5688B2EEB}"/>
              </a:ext>
            </a:extLst>
          </p:cNvPr>
          <p:cNvSpPr/>
          <p:nvPr/>
        </p:nvSpPr>
        <p:spPr>
          <a:xfrm rot="10800000">
            <a:off x="8428176" y="2980232"/>
            <a:ext cx="1625137" cy="494276"/>
          </a:xfrm>
          <a:prstGeom prst="triangle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9" name="object 7">
            <a:extLst>
              <a:ext uri="{FF2B5EF4-FFF2-40B4-BE49-F238E27FC236}">
                <a16:creationId xmlns:a16="http://schemas.microsoft.com/office/drawing/2014/main" id="{E6860B01-0EB0-E344-0312-DDEBFDE54BAE}"/>
              </a:ext>
            </a:extLst>
          </p:cNvPr>
          <p:cNvGrpSpPr/>
          <p:nvPr/>
        </p:nvGrpSpPr>
        <p:grpSpPr>
          <a:xfrm>
            <a:off x="1240633" y="6288364"/>
            <a:ext cx="3334786" cy="850245"/>
            <a:chOff x="1422272" y="1705864"/>
            <a:chExt cx="2686050" cy="467995"/>
          </a:xfrm>
        </p:grpSpPr>
        <p:sp>
          <p:nvSpPr>
            <p:cNvPr id="70" name="object 8">
              <a:extLst>
                <a:ext uri="{FF2B5EF4-FFF2-40B4-BE49-F238E27FC236}">
                  <a16:creationId xmlns:a16="http://schemas.microsoft.com/office/drawing/2014/main" id="{38D0912C-25F9-5FFB-F84D-26D623F5BF9A}"/>
                </a:ext>
              </a:extLst>
            </p:cNvPr>
            <p:cNvSpPr/>
            <p:nvPr/>
          </p:nvSpPr>
          <p:spPr>
            <a:xfrm>
              <a:off x="1422272" y="1705864"/>
              <a:ext cx="2686050" cy="467995"/>
            </a:xfrm>
            <a:custGeom>
              <a:avLst/>
              <a:gdLst/>
              <a:ahLst/>
              <a:cxnLst/>
              <a:rect l="l" t="t" r="r" b="b"/>
              <a:pathLst>
                <a:path w="2686050" h="467994">
                  <a:moveTo>
                    <a:pt x="2685923" y="0"/>
                  </a:moveTo>
                  <a:lnTo>
                    <a:pt x="0" y="0"/>
                  </a:lnTo>
                  <a:lnTo>
                    <a:pt x="0" y="467613"/>
                  </a:lnTo>
                  <a:lnTo>
                    <a:pt x="2685923" y="467613"/>
                  </a:lnTo>
                  <a:lnTo>
                    <a:pt x="2685923" y="0"/>
                  </a:lnTo>
                  <a:close/>
                </a:path>
              </a:pathLst>
            </a:custGeom>
            <a:solidFill>
              <a:srgbClr val="8888D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9">
              <a:extLst>
                <a:ext uri="{FF2B5EF4-FFF2-40B4-BE49-F238E27FC236}">
                  <a16:creationId xmlns:a16="http://schemas.microsoft.com/office/drawing/2014/main" id="{3562C406-E53A-46EA-E354-B990D1FB6303}"/>
                </a:ext>
              </a:extLst>
            </p:cNvPr>
            <p:cNvSpPr/>
            <p:nvPr/>
          </p:nvSpPr>
          <p:spPr>
            <a:xfrm>
              <a:off x="1422273" y="1705863"/>
              <a:ext cx="2686050" cy="467995"/>
            </a:xfrm>
            <a:custGeom>
              <a:avLst/>
              <a:gdLst/>
              <a:ahLst/>
              <a:cxnLst/>
              <a:rect l="l" t="t" r="r" b="b"/>
              <a:pathLst>
                <a:path w="2686050" h="467994">
                  <a:moveTo>
                    <a:pt x="187198" y="0"/>
                  </a:moveTo>
                  <a:lnTo>
                    <a:pt x="10160" y="0"/>
                  </a:lnTo>
                  <a:lnTo>
                    <a:pt x="10160" y="241681"/>
                  </a:lnTo>
                  <a:lnTo>
                    <a:pt x="187198" y="0"/>
                  </a:lnTo>
                  <a:close/>
                </a:path>
                <a:path w="2686050" h="467994">
                  <a:moveTo>
                    <a:pt x="490601" y="0"/>
                  </a:moveTo>
                  <a:lnTo>
                    <a:pt x="337439" y="0"/>
                  </a:lnTo>
                  <a:lnTo>
                    <a:pt x="0" y="467614"/>
                  </a:lnTo>
                  <a:lnTo>
                    <a:pt x="153035" y="467614"/>
                  </a:lnTo>
                  <a:lnTo>
                    <a:pt x="490601" y="0"/>
                  </a:lnTo>
                  <a:close/>
                </a:path>
                <a:path w="2686050" h="467994">
                  <a:moveTo>
                    <a:pt x="804164" y="0"/>
                  </a:moveTo>
                  <a:lnTo>
                    <a:pt x="651002" y="0"/>
                  </a:lnTo>
                  <a:lnTo>
                    <a:pt x="313690" y="467614"/>
                  </a:lnTo>
                  <a:lnTo>
                    <a:pt x="466725" y="467614"/>
                  </a:lnTo>
                  <a:lnTo>
                    <a:pt x="804164" y="0"/>
                  </a:lnTo>
                  <a:close/>
                </a:path>
                <a:path w="2686050" h="467994">
                  <a:moveTo>
                    <a:pt x="1117727" y="0"/>
                  </a:moveTo>
                  <a:lnTo>
                    <a:pt x="964692" y="0"/>
                  </a:lnTo>
                  <a:lnTo>
                    <a:pt x="627253" y="467614"/>
                  </a:lnTo>
                  <a:lnTo>
                    <a:pt x="780288" y="467614"/>
                  </a:lnTo>
                  <a:lnTo>
                    <a:pt x="1117727" y="0"/>
                  </a:lnTo>
                  <a:close/>
                </a:path>
                <a:path w="2686050" h="467994">
                  <a:moveTo>
                    <a:pt x="1431417" y="0"/>
                  </a:moveTo>
                  <a:lnTo>
                    <a:pt x="1278382" y="0"/>
                  </a:lnTo>
                  <a:lnTo>
                    <a:pt x="940943" y="467614"/>
                  </a:lnTo>
                  <a:lnTo>
                    <a:pt x="1093978" y="467614"/>
                  </a:lnTo>
                  <a:lnTo>
                    <a:pt x="1431417" y="0"/>
                  </a:lnTo>
                  <a:close/>
                </a:path>
                <a:path w="2686050" h="467994">
                  <a:moveTo>
                    <a:pt x="1744980" y="0"/>
                  </a:moveTo>
                  <a:lnTo>
                    <a:pt x="1591945" y="0"/>
                  </a:lnTo>
                  <a:lnTo>
                    <a:pt x="1254506" y="467614"/>
                  </a:lnTo>
                  <a:lnTo>
                    <a:pt x="1407541" y="467614"/>
                  </a:lnTo>
                  <a:lnTo>
                    <a:pt x="1744980" y="0"/>
                  </a:lnTo>
                  <a:close/>
                </a:path>
                <a:path w="2686050" h="467994">
                  <a:moveTo>
                    <a:pt x="2058670" y="0"/>
                  </a:moveTo>
                  <a:lnTo>
                    <a:pt x="1905635" y="0"/>
                  </a:lnTo>
                  <a:lnTo>
                    <a:pt x="1568069" y="467614"/>
                  </a:lnTo>
                  <a:lnTo>
                    <a:pt x="1721231" y="467614"/>
                  </a:lnTo>
                  <a:lnTo>
                    <a:pt x="2058670" y="0"/>
                  </a:lnTo>
                  <a:close/>
                </a:path>
                <a:path w="2686050" h="467994">
                  <a:moveTo>
                    <a:pt x="2372233" y="0"/>
                  </a:moveTo>
                  <a:lnTo>
                    <a:pt x="2219198" y="0"/>
                  </a:lnTo>
                  <a:lnTo>
                    <a:pt x="1881619" y="467614"/>
                  </a:lnTo>
                  <a:lnTo>
                    <a:pt x="2034794" y="467614"/>
                  </a:lnTo>
                  <a:lnTo>
                    <a:pt x="2372233" y="0"/>
                  </a:lnTo>
                  <a:close/>
                </a:path>
                <a:path w="2686050" h="467994">
                  <a:moveTo>
                    <a:pt x="2685923" y="225933"/>
                  </a:moveTo>
                  <a:lnTo>
                    <a:pt x="2508885" y="467614"/>
                  </a:lnTo>
                  <a:lnTo>
                    <a:pt x="2685923" y="467614"/>
                  </a:lnTo>
                  <a:lnTo>
                    <a:pt x="2685923" y="225933"/>
                  </a:lnTo>
                  <a:close/>
                </a:path>
                <a:path w="2686050" h="467994">
                  <a:moveTo>
                    <a:pt x="2685923" y="0"/>
                  </a:moveTo>
                  <a:lnTo>
                    <a:pt x="2532761" y="0"/>
                  </a:lnTo>
                  <a:lnTo>
                    <a:pt x="2195322" y="467614"/>
                  </a:lnTo>
                  <a:lnTo>
                    <a:pt x="2348357" y="467614"/>
                  </a:lnTo>
                  <a:lnTo>
                    <a:pt x="2685923" y="0"/>
                  </a:lnTo>
                  <a:close/>
                </a:path>
              </a:pathLst>
            </a:custGeom>
            <a:solidFill>
              <a:srgbClr val="A0A0DA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75" name="object 10">
            <a:extLst>
              <a:ext uri="{FF2B5EF4-FFF2-40B4-BE49-F238E27FC236}">
                <a16:creationId xmlns:a16="http://schemas.microsoft.com/office/drawing/2014/main" id="{6CE72057-1672-CD5B-F688-B6EC7B44BF70}"/>
              </a:ext>
            </a:extLst>
          </p:cNvPr>
          <p:cNvSpPr txBox="1"/>
          <p:nvPr/>
        </p:nvSpPr>
        <p:spPr>
          <a:xfrm>
            <a:off x="1153110" y="6421737"/>
            <a:ext cx="3204347" cy="583493"/>
          </a:xfrm>
          <a:prstGeom prst="rect">
            <a:avLst/>
          </a:prstGeom>
        </p:spPr>
        <p:txBody>
          <a:bodyPr vert="horz" wrap="square" lIns="0" tIns="90170" rIns="0" bIns="0" rtlCol="0">
            <a:spAutoFit/>
          </a:bodyPr>
          <a:lstStyle/>
          <a:p>
            <a:pPr marL="568960">
              <a:lnSpc>
                <a:spcPct val="100000"/>
              </a:lnSpc>
              <a:spcBef>
                <a:spcPts val="710"/>
              </a:spcBef>
            </a:pPr>
            <a:r>
              <a:rPr sz="3200" b="1" spc="-15" dirty="0">
                <a:solidFill>
                  <a:srgbClr val="FFFFFF"/>
                </a:solidFill>
                <a:latin typeface="Arial"/>
                <a:cs typeface="Arial"/>
              </a:rPr>
              <a:t>ПР</a:t>
            </a:r>
            <a:r>
              <a:rPr lang="ru-RU" sz="3200" b="1" spc="-15" dirty="0">
                <a:solidFill>
                  <a:srgbClr val="FFFFFF"/>
                </a:solidFill>
                <a:latin typeface="Arial"/>
                <a:cs typeface="Arial"/>
              </a:rPr>
              <a:t>ИЧИНЫ</a:t>
            </a:r>
            <a:r>
              <a:rPr sz="3200" b="1" spc="-15" dirty="0">
                <a:solidFill>
                  <a:srgbClr val="FFFFFF"/>
                </a:solidFill>
                <a:latin typeface="Arial"/>
                <a:cs typeface="Arial"/>
              </a:rPr>
              <a:t>: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76" name="object 16">
            <a:extLst>
              <a:ext uri="{FF2B5EF4-FFF2-40B4-BE49-F238E27FC236}">
                <a16:creationId xmlns:a16="http://schemas.microsoft.com/office/drawing/2014/main" id="{9D3AEBD2-2CD4-E14A-45F6-B93D2DCCD54F}"/>
              </a:ext>
            </a:extLst>
          </p:cNvPr>
          <p:cNvSpPr/>
          <p:nvPr/>
        </p:nvSpPr>
        <p:spPr>
          <a:xfrm flipV="1">
            <a:off x="1240633" y="7463347"/>
            <a:ext cx="12478595" cy="45719"/>
          </a:xfrm>
          <a:custGeom>
            <a:avLst/>
            <a:gdLst/>
            <a:ahLst/>
            <a:cxnLst/>
            <a:rect l="l" t="t" r="r" b="b"/>
            <a:pathLst>
              <a:path w="9713595" h="11430">
                <a:moveTo>
                  <a:pt x="0" y="11429"/>
                </a:moveTo>
                <a:lnTo>
                  <a:pt x="9713341" y="0"/>
                </a:lnTo>
              </a:path>
            </a:pathLst>
          </a:custGeom>
          <a:ln w="57149">
            <a:solidFill>
              <a:srgbClr val="8888D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67">
            <a:extLst>
              <a:ext uri="{FF2B5EF4-FFF2-40B4-BE49-F238E27FC236}">
                <a16:creationId xmlns:a16="http://schemas.microsoft.com/office/drawing/2014/main" id="{43171654-8DD3-139E-D4A2-DCB3E4AE665B}"/>
              </a:ext>
            </a:extLst>
          </p:cNvPr>
          <p:cNvSpPr/>
          <p:nvPr/>
        </p:nvSpPr>
        <p:spPr>
          <a:xfrm>
            <a:off x="4191121" y="7918522"/>
            <a:ext cx="1296035" cy="1226920"/>
          </a:xfrm>
          <a:custGeom>
            <a:avLst/>
            <a:gdLst/>
            <a:ahLst/>
            <a:cxnLst/>
            <a:rect l="l" t="t" r="r" b="b"/>
            <a:pathLst>
              <a:path w="1296034" h="1296035">
                <a:moveTo>
                  <a:pt x="1296034" y="0"/>
                </a:moveTo>
                <a:lnTo>
                  <a:pt x="0" y="0"/>
                </a:lnTo>
                <a:lnTo>
                  <a:pt x="0" y="1295780"/>
                </a:lnTo>
                <a:lnTo>
                  <a:pt x="1296034" y="1295780"/>
                </a:lnTo>
                <a:lnTo>
                  <a:pt x="1296034" y="0"/>
                </a:lnTo>
                <a:close/>
              </a:path>
            </a:pathLst>
          </a:custGeom>
          <a:solidFill>
            <a:srgbClr val="CDCD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67">
            <a:extLst>
              <a:ext uri="{FF2B5EF4-FFF2-40B4-BE49-F238E27FC236}">
                <a16:creationId xmlns:a16="http://schemas.microsoft.com/office/drawing/2014/main" id="{1683F2C7-4855-CF7E-9803-DC7809A46DA9}"/>
              </a:ext>
            </a:extLst>
          </p:cNvPr>
          <p:cNvSpPr/>
          <p:nvPr/>
        </p:nvSpPr>
        <p:spPr>
          <a:xfrm>
            <a:off x="12082082" y="7931054"/>
            <a:ext cx="1296035" cy="1226920"/>
          </a:xfrm>
          <a:custGeom>
            <a:avLst/>
            <a:gdLst/>
            <a:ahLst/>
            <a:cxnLst/>
            <a:rect l="l" t="t" r="r" b="b"/>
            <a:pathLst>
              <a:path w="1296034" h="1296035">
                <a:moveTo>
                  <a:pt x="1296034" y="0"/>
                </a:moveTo>
                <a:lnTo>
                  <a:pt x="0" y="0"/>
                </a:lnTo>
                <a:lnTo>
                  <a:pt x="0" y="1295780"/>
                </a:lnTo>
                <a:lnTo>
                  <a:pt x="1296034" y="1295780"/>
                </a:lnTo>
                <a:lnTo>
                  <a:pt x="1296034" y="0"/>
                </a:lnTo>
                <a:close/>
              </a:path>
            </a:pathLst>
          </a:custGeom>
          <a:solidFill>
            <a:srgbClr val="CDCD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67">
            <a:extLst>
              <a:ext uri="{FF2B5EF4-FFF2-40B4-BE49-F238E27FC236}">
                <a16:creationId xmlns:a16="http://schemas.microsoft.com/office/drawing/2014/main" id="{1D818398-EF19-91FD-5D8F-C8A6815BDCEE}"/>
              </a:ext>
            </a:extLst>
          </p:cNvPr>
          <p:cNvSpPr/>
          <p:nvPr/>
        </p:nvSpPr>
        <p:spPr>
          <a:xfrm>
            <a:off x="1270654" y="7901141"/>
            <a:ext cx="1296035" cy="1226920"/>
          </a:xfrm>
          <a:custGeom>
            <a:avLst/>
            <a:gdLst/>
            <a:ahLst/>
            <a:cxnLst/>
            <a:rect l="l" t="t" r="r" b="b"/>
            <a:pathLst>
              <a:path w="1296034" h="1296035">
                <a:moveTo>
                  <a:pt x="1296034" y="0"/>
                </a:moveTo>
                <a:lnTo>
                  <a:pt x="0" y="0"/>
                </a:lnTo>
                <a:lnTo>
                  <a:pt x="0" y="1295780"/>
                </a:lnTo>
                <a:lnTo>
                  <a:pt x="1296034" y="1295780"/>
                </a:lnTo>
                <a:lnTo>
                  <a:pt x="1296034" y="0"/>
                </a:lnTo>
                <a:close/>
              </a:path>
            </a:pathLst>
          </a:custGeom>
          <a:solidFill>
            <a:srgbClr val="CDCD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DB552EF1-95B6-E939-EAEC-0804B16607EA}"/>
              </a:ext>
            </a:extLst>
          </p:cNvPr>
          <p:cNvSpPr txBox="1"/>
          <p:nvPr/>
        </p:nvSpPr>
        <p:spPr>
          <a:xfrm>
            <a:off x="11545051" y="9327283"/>
            <a:ext cx="237009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/>
              <a:t>Запросы</a:t>
            </a:r>
          </a:p>
          <a:p>
            <a:pPr algn="ctr"/>
            <a:r>
              <a:rPr lang="ru-RU" sz="1200" dirty="0"/>
              <a:t>Подготовка ответов на множество запросов</a:t>
            </a:r>
          </a:p>
          <a:p>
            <a:pPr algn="ctr"/>
            <a:r>
              <a:rPr lang="ru-RU" sz="1200" dirty="0"/>
              <a:t>(более  250 писем каждую школу  ежемесячно)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CED8517-4414-5F3F-360D-08FC50032499}"/>
              </a:ext>
            </a:extLst>
          </p:cNvPr>
          <p:cNvSpPr txBox="1"/>
          <p:nvPr/>
        </p:nvSpPr>
        <p:spPr>
          <a:xfrm>
            <a:off x="684384" y="9311161"/>
            <a:ext cx="246857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/>
              <a:t>Документация</a:t>
            </a:r>
          </a:p>
          <a:p>
            <a:pPr algn="ctr"/>
            <a:r>
              <a:rPr lang="ru-RU" sz="1050" dirty="0"/>
              <a:t>Отсутствие требований к отчетной документации педагогических работников и образовательных организаций  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ED57787-65D4-E145-6DB2-B0EC80C57C10}"/>
              </a:ext>
            </a:extLst>
          </p:cNvPr>
          <p:cNvSpPr txBox="1"/>
          <p:nvPr/>
        </p:nvSpPr>
        <p:spPr>
          <a:xfrm>
            <a:off x="3687955" y="9357327"/>
            <a:ext cx="22656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/>
              <a:t>Функционал </a:t>
            </a:r>
          </a:p>
          <a:p>
            <a:pPr algn="ctr"/>
            <a:r>
              <a:rPr lang="ru-RU" sz="1200" dirty="0"/>
              <a:t>Отсутствие рамок функционала педагогических работников </a:t>
            </a:r>
          </a:p>
        </p:txBody>
      </p:sp>
      <p:pic>
        <p:nvPicPr>
          <p:cNvPr id="89" name="Рисунок 88" descr="Контрольный список">
            <a:extLst>
              <a:ext uri="{FF2B5EF4-FFF2-40B4-BE49-F238E27FC236}">
                <a16:creationId xmlns:a16="http://schemas.microsoft.com/office/drawing/2014/main" id="{F7B8557A-C76F-DA77-E1EE-C14BC0AF06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90059" y="8061053"/>
            <a:ext cx="914400" cy="914400"/>
          </a:xfrm>
          <a:prstGeom prst="rect">
            <a:avLst/>
          </a:prstGeom>
        </p:spPr>
      </p:pic>
      <p:pic>
        <p:nvPicPr>
          <p:cNvPr id="103" name="Рисунок 102" descr="Электронная почта">
            <a:extLst>
              <a:ext uri="{FF2B5EF4-FFF2-40B4-BE49-F238E27FC236}">
                <a16:creationId xmlns:a16="http://schemas.microsoft.com/office/drawing/2014/main" id="{59AD50BB-D68E-81C5-F42C-E0058D45D8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276534" y="8100363"/>
            <a:ext cx="795463" cy="795463"/>
          </a:xfrm>
          <a:prstGeom prst="rect">
            <a:avLst/>
          </a:prstGeom>
        </p:spPr>
      </p:pic>
      <p:pic>
        <p:nvPicPr>
          <p:cNvPr id="105" name="Рисунок 104" descr="Аудитория">
            <a:extLst>
              <a:ext uri="{FF2B5EF4-FFF2-40B4-BE49-F238E27FC236}">
                <a16:creationId xmlns:a16="http://schemas.microsoft.com/office/drawing/2014/main" id="{E3AA9483-E5FE-96E8-6066-69BD0D514F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81938" y="8074782"/>
            <a:ext cx="914400" cy="914400"/>
          </a:xfrm>
          <a:prstGeom prst="rect">
            <a:avLst/>
          </a:prstGeom>
        </p:spPr>
      </p:pic>
      <p:sp>
        <p:nvSpPr>
          <p:cNvPr id="106" name="Равнобедренный треугольник 105">
            <a:extLst>
              <a:ext uri="{FF2B5EF4-FFF2-40B4-BE49-F238E27FC236}">
                <a16:creationId xmlns:a16="http://schemas.microsoft.com/office/drawing/2014/main" id="{427D129D-7293-1EF2-02A7-70F84258AA3E}"/>
              </a:ext>
            </a:extLst>
          </p:cNvPr>
          <p:cNvSpPr/>
          <p:nvPr/>
        </p:nvSpPr>
        <p:spPr>
          <a:xfrm rot="10800000">
            <a:off x="1400122" y="7470903"/>
            <a:ext cx="1114055" cy="295794"/>
          </a:xfrm>
          <a:prstGeom prst="triangle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Равнобедренный треугольник 106">
            <a:extLst>
              <a:ext uri="{FF2B5EF4-FFF2-40B4-BE49-F238E27FC236}">
                <a16:creationId xmlns:a16="http://schemas.microsoft.com/office/drawing/2014/main" id="{038E1B45-DEE9-537E-4BF4-E2EA9A8144AC}"/>
              </a:ext>
            </a:extLst>
          </p:cNvPr>
          <p:cNvSpPr/>
          <p:nvPr/>
        </p:nvSpPr>
        <p:spPr>
          <a:xfrm rot="10800000">
            <a:off x="4323396" y="7485335"/>
            <a:ext cx="1114055" cy="295794"/>
          </a:xfrm>
          <a:prstGeom prst="triangle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Равнобедренный треугольник 107">
            <a:extLst>
              <a:ext uri="{FF2B5EF4-FFF2-40B4-BE49-F238E27FC236}">
                <a16:creationId xmlns:a16="http://schemas.microsoft.com/office/drawing/2014/main" id="{E22E14C2-6E2D-1756-01B5-4365DA417EF7}"/>
              </a:ext>
            </a:extLst>
          </p:cNvPr>
          <p:cNvSpPr/>
          <p:nvPr/>
        </p:nvSpPr>
        <p:spPr>
          <a:xfrm rot="10800000">
            <a:off x="7127580" y="7486206"/>
            <a:ext cx="1114055" cy="295794"/>
          </a:xfrm>
          <a:prstGeom prst="triangle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Равнобедренный треугольник 108">
            <a:extLst>
              <a:ext uri="{FF2B5EF4-FFF2-40B4-BE49-F238E27FC236}">
                <a16:creationId xmlns:a16="http://schemas.microsoft.com/office/drawing/2014/main" id="{D5FFCBE2-943B-7228-4141-A1B8E04D1AE8}"/>
              </a:ext>
            </a:extLst>
          </p:cNvPr>
          <p:cNvSpPr/>
          <p:nvPr/>
        </p:nvSpPr>
        <p:spPr>
          <a:xfrm rot="10800000">
            <a:off x="9681901" y="7499126"/>
            <a:ext cx="1114055" cy="295794"/>
          </a:xfrm>
          <a:prstGeom prst="triangle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0" name="Равнобедренный треугольник 109">
            <a:extLst>
              <a:ext uri="{FF2B5EF4-FFF2-40B4-BE49-F238E27FC236}">
                <a16:creationId xmlns:a16="http://schemas.microsoft.com/office/drawing/2014/main" id="{77DDA41A-BF4D-F8F7-6774-CCCAFFF7B214}"/>
              </a:ext>
            </a:extLst>
          </p:cNvPr>
          <p:cNvSpPr/>
          <p:nvPr/>
        </p:nvSpPr>
        <p:spPr>
          <a:xfrm rot="10800000">
            <a:off x="12173071" y="7547125"/>
            <a:ext cx="1114055" cy="295794"/>
          </a:xfrm>
          <a:prstGeom prst="triangle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3309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29</TotalTime>
  <Words>2491</Words>
  <Application>Microsoft Office PowerPoint</Application>
  <PresentationFormat>Произвольный</PresentationFormat>
  <Paragraphs>822</Paragraphs>
  <Slides>2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6" baseType="lpstr">
      <vt:lpstr>Calibri Light</vt:lpstr>
      <vt:lpstr>Calibri</vt:lpstr>
      <vt:lpstr>Wingdings</vt:lpstr>
      <vt:lpstr>Microsoft Sans Serif</vt:lpstr>
      <vt:lpstr>Arial</vt:lpstr>
      <vt:lpstr>Times New Roman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плинов Ярослав</dc:creator>
  <cp:lastModifiedBy>Шуняева Наталья Владимировна</cp:lastModifiedBy>
  <cp:revision>855</cp:revision>
  <cp:lastPrinted>2021-03-16T12:01:01Z</cp:lastPrinted>
  <dcterms:created xsi:type="dcterms:W3CDTF">2020-06-19T06:58:49Z</dcterms:created>
  <dcterms:modified xsi:type="dcterms:W3CDTF">2024-04-03T11:08:48Z</dcterms:modified>
</cp:coreProperties>
</file>